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slideLayouts/slideLayout6.xml" ContentType="application/vnd.openxmlformats-officedocument.presentationml.slideLayout+xml"/>
  <Override PartName="/ppt/theme/theme5.xml" ContentType="application/vnd.openxmlformats-officedocument.theme+xml"/>
  <Override PartName="/ppt/slideLayouts/slideLayout7.xml" ContentType="application/vnd.openxmlformats-officedocument.presentationml.slideLayout+xml"/>
  <Override PartName="/ppt/theme/theme6.xml" ContentType="application/vnd.openxmlformats-officedocument.theme+xml"/>
  <Override PartName="/ppt/slideLayouts/slideLayout8.xml" ContentType="application/vnd.openxmlformats-officedocument.presentationml.slideLayout+xml"/>
  <Override PartName="/ppt/theme/theme7.xml" ContentType="application/vnd.openxmlformats-officedocument.theme+xml"/>
  <Override PartName="/ppt/slideLayouts/slideLayout9.xml" ContentType="application/vnd.openxmlformats-officedocument.presentationml.slideLayout+xml"/>
  <Override PartName="/ppt/theme/theme8.xml" ContentType="application/vnd.openxmlformats-officedocument.theme+xml"/>
  <Override PartName="/ppt/slideLayouts/slideLayout10.xml" ContentType="application/vnd.openxmlformats-officedocument.presentationml.slideLayout+xml"/>
  <Override PartName="/ppt/theme/theme9.xml" ContentType="application/vnd.openxmlformats-officedocument.theme+xml"/>
  <Override PartName="/ppt/slideLayouts/slideLayout11.xml" ContentType="application/vnd.openxmlformats-officedocument.presentationml.slideLayout+xml"/>
  <Override PartName="/ppt/theme/theme10.xml" ContentType="application/vnd.openxmlformats-officedocument.theme+xml"/>
  <Override PartName="/ppt/slideLayouts/slideLayout12.xml" ContentType="application/vnd.openxmlformats-officedocument.presentationml.slideLayout+xml"/>
  <Override PartName="/ppt/theme/theme11.xml" ContentType="application/vnd.openxmlformats-officedocument.theme+xml"/>
  <Override PartName="/ppt/slideLayouts/slideLayout13.xml" ContentType="application/vnd.openxmlformats-officedocument.presentationml.slideLayout+xml"/>
  <Override PartName="/ppt/theme/theme12.xml" ContentType="application/vnd.openxmlformats-officedocument.theme+xml"/>
  <Override PartName="/ppt/slideLayouts/slideLayout14.xml" ContentType="application/vnd.openxmlformats-officedocument.presentationml.slideLayout+xml"/>
  <Override PartName="/ppt/theme/theme13.xml" ContentType="application/vnd.openxmlformats-officedocument.theme+xml"/>
  <Override PartName="/ppt/slideLayouts/slideLayout15.xml" ContentType="application/vnd.openxmlformats-officedocument.presentationml.slideLayout+xml"/>
  <Override PartName="/ppt/theme/theme14.xml" ContentType="application/vnd.openxmlformats-officedocument.theme+xml"/>
  <Override PartName="/ppt/slideLayouts/slideLayout16.xml" ContentType="application/vnd.openxmlformats-officedocument.presentationml.slideLayout+xml"/>
  <Override PartName="/ppt/theme/theme15.xml" ContentType="application/vnd.openxmlformats-officedocument.theme+xml"/>
  <Override PartName="/ppt/slideLayouts/slideLayout17.xml" ContentType="application/vnd.openxmlformats-officedocument.presentationml.slideLayout+xml"/>
  <Override PartName="/ppt/theme/theme16.xml" ContentType="application/vnd.openxmlformats-officedocument.theme+xml"/>
  <Override PartName="/ppt/slideLayouts/slideLayout18.xml" ContentType="application/vnd.openxmlformats-officedocument.presentationml.slideLayout+xml"/>
  <Override PartName="/ppt/theme/theme17.xml" ContentType="application/vnd.openxmlformats-officedocument.theme+xml"/>
  <Override PartName="/ppt/slideLayouts/slideLayout19.xml" ContentType="application/vnd.openxmlformats-officedocument.presentationml.slideLayout+xml"/>
  <Override PartName="/ppt/theme/theme18.xml" ContentType="application/vnd.openxmlformats-officedocument.theme+xml"/>
  <Override PartName="/ppt/slideLayouts/slideLayout20.xml" ContentType="application/vnd.openxmlformats-officedocument.presentationml.slideLayout+xml"/>
  <Override PartName="/ppt/theme/theme19.xml" ContentType="application/vnd.openxmlformats-officedocument.theme+xml"/>
  <Override PartName="/ppt/slideLayouts/slideLayout21.xml" ContentType="application/vnd.openxmlformats-officedocument.presentationml.slideLayout+xml"/>
  <Override PartName="/ppt/theme/theme20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4"/>
    <p:sldMasterId id="2147483684" r:id="rId5"/>
    <p:sldMasterId id="2147483695" r:id="rId6"/>
    <p:sldMasterId id="2147483697" r:id="rId7"/>
    <p:sldMasterId id="2147483693" r:id="rId8"/>
    <p:sldMasterId id="2147483682" r:id="rId9"/>
    <p:sldMasterId id="2147483689" r:id="rId10"/>
    <p:sldMasterId id="2147483707" r:id="rId11"/>
    <p:sldMasterId id="2147483687" r:id="rId12"/>
    <p:sldMasterId id="2147483699" r:id="rId13"/>
    <p:sldMasterId id="2147483691" r:id="rId14"/>
    <p:sldMasterId id="2147483701" r:id="rId15"/>
    <p:sldMasterId id="2147483705" r:id="rId16"/>
    <p:sldMasterId id="2147483703" r:id="rId17"/>
    <p:sldMasterId id="2147483709" r:id="rId18"/>
    <p:sldMasterId id="2147483711" r:id="rId19"/>
    <p:sldMasterId id="2147483713" r:id="rId20"/>
    <p:sldMasterId id="2147483715" r:id="rId21"/>
    <p:sldMasterId id="2147483717" r:id="rId22"/>
    <p:sldMasterId id="2147483719" r:id="rId23"/>
  </p:sldMasterIdLst>
  <p:sldIdLst>
    <p:sldId id="291" r:id="rId24"/>
    <p:sldId id="301" r:id="rId25"/>
    <p:sldId id="304" r:id="rId26"/>
    <p:sldId id="300" r:id="rId27"/>
    <p:sldId id="303" r:id="rId28"/>
    <p:sldId id="306" r:id="rId29"/>
    <p:sldId id="307" r:id="rId30"/>
    <p:sldId id="308" r:id="rId31"/>
    <p:sldId id="293" r:id="rId32"/>
    <p:sldId id="309" r:id="rId33"/>
    <p:sldId id="311" r:id="rId34"/>
    <p:sldId id="310" r:id="rId35"/>
    <p:sldId id="305" r:id="rId36"/>
    <p:sldId id="313" r:id="rId37"/>
    <p:sldId id="312" r:id="rId38"/>
    <p:sldId id="315" r:id="rId39"/>
    <p:sldId id="314" r:id="rId40"/>
    <p:sldId id="302" r:id="rId41"/>
  </p:sldIdLst>
  <p:sldSz cx="12211050" cy="68754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1" userDrawn="1">
          <p15:clr>
            <a:srgbClr val="A4A3A4"/>
          </p15:clr>
        </p15:guide>
        <p15:guide id="2" pos="2825" userDrawn="1">
          <p15:clr>
            <a:srgbClr val="A4A3A4"/>
          </p15:clr>
        </p15:guide>
        <p15:guide id="3" pos="1374" userDrawn="1">
          <p15:clr>
            <a:srgbClr val="A4A3A4"/>
          </p15:clr>
        </p15:guide>
        <p15:guide id="4" orient="horz" pos="1281" userDrawn="1">
          <p15:clr>
            <a:srgbClr val="A4A3A4"/>
          </p15:clr>
        </p15:guide>
        <p15:guide id="5" orient="horz" pos="1145" userDrawn="1">
          <p15:clr>
            <a:srgbClr val="A4A3A4"/>
          </p15:clr>
        </p15:guide>
        <p15:guide id="6" orient="horz" pos="18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8B547"/>
    <a:srgbClr val="004422"/>
    <a:srgbClr val="EB5B27"/>
    <a:srgbClr val="9EC73C"/>
    <a:srgbClr val="00B7E0"/>
    <a:srgbClr val="443247"/>
    <a:srgbClr val="6249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13" autoAdjust="0"/>
    <p:restoredTop sz="94759"/>
  </p:normalViewPr>
  <p:slideViewPr>
    <p:cSldViewPr snapToGrid="0" snapToObjects="1" showGuides="1">
      <p:cViewPr varScale="1">
        <p:scale>
          <a:sx n="60" d="100"/>
          <a:sy n="60" d="100"/>
        </p:scale>
        <p:origin x="892" y="28"/>
      </p:cViewPr>
      <p:guideLst>
        <p:guide orient="horz" pos="1621"/>
        <p:guide pos="2825"/>
        <p:guide pos="1374"/>
        <p:guide orient="horz" pos="1281"/>
        <p:guide orient="horz" pos="1145"/>
        <p:guide orient="horz" pos="187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1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8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microsoft.com/office/2016/11/relationships/changesInfo" Target="changesInfos/changesInfo1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1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y Ziganshin" userId="b120afe6-0ff1-44de-8002-86ab6bfe6313" providerId="ADAL" clId="{7F7D112B-80ED-4E15-B9A6-A9B51F0187C1}"/>
    <pc:docChg chg="delSld">
      <pc:chgData name="Andrey Ziganshin" userId="b120afe6-0ff1-44de-8002-86ab6bfe6313" providerId="ADAL" clId="{7F7D112B-80ED-4E15-B9A6-A9B51F0187C1}" dt="2024-11-02T11:54:20.077" v="1" actId="47"/>
      <pc:docMkLst>
        <pc:docMk/>
      </pc:docMkLst>
      <pc:sldChg chg="del">
        <pc:chgData name="Andrey Ziganshin" userId="b120afe6-0ff1-44de-8002-86ab6bfe6313" providerId="ADAL" clId="{7F7D112B-80ED-4E15-B9A6-A9B51F0187C1}" dt="2024-11-02T11:54:19.132" v="0" actId="47"/>
        <pc:sldMkLst>
          <pc:docMk/>
          <pc:sldMk cId="2895800893" sldId="316"/>
        </pc:sldMkLst>
      </pc:sldChg>
      <pc:sldChg chg="del">
        <pc:chgData name="Andrey Ziganshin" userId="b120afe6-0ff1-44de-8002-86ab6bfe6313" providerId="ADAL" clId="{7F7D112B-80ED-4E15-B9A6-A9B51F0187C1}" dt="2024-11-02T11:54:20.077" v="1" actId="47"/>
        <pc:sldMkLst>
          <pc:docMk/>
          <pc:sldMk cId="3016826273" sldId="317"/>
        </pc:sldMkLst>
      </pc:sldChg>
    </pc:docChg>
  </pc:docChgLst>
  <pc:docChgLst>
    <pc:chgData name="Andrey Ziganshin" userId="b120afe6-0ff1-44de-8002-86ab6bfe6313" providerId="ADAL" clId="{7FA62D20-5341-4D17-9B2D-BF989348A0F8}"/>
    <pc:docChg chg="addSld modSld">
      <pc:chgData name="Andrey Ziganshin" userId="b120afe6-0ff1-44de-8002-86ab6bfe6313" providerId="ADAL" clId="{7FA62D20-5341-4D17-9B2D-BF989348A0F8}" dt="2024-10-23T06:50:16.916" v="1074" actId="20577"/>
      <pc:docMkLst>
        <pc:docMk/>
      </pc:docMkLst>
      <pc:sldChg chg="modSp mod">
        <pc:chgData name="Andrey Ziganshin" userId="b120afe6-0ff1-44de-8002-86ab6bfe6313" providerId="ADAL" clId="{7FA62D20-5341-4D17-9B2D-BF989348A0F8}" dt="2024-10-22T11:55:10.997" v="0" actId="403"/>
        <pc:sldMkLst>
          <pc:docMk/>
          <pc:sldMk cId="2619751593" sldId="304"/>
        </pc:sldMkLst>
        <pc:spChg chg="mod">
          <ac:chgData name="Andrey Ziganshin" userId="b120afe6-0ff1-44de-8002-86ab6bfe6313" providerId="ADAL" clId="{7FA62D20-5341-4D17-9B2D-BF989348A0F8}" dt="2024-10-22T11:55:10.997" v="0" actId="403"/>
          <ac:spMkLst>
            <pc:docMk/>
            <pc:sldMk cId="2619751593" sldId="304"/>
            <ac:spMk id="4" creationId="{B1652008-1764-4FB5-92A1-5166691F0F4F}"/>
          </ac:spMkLst>
        </pc:spChg>
      </pc:sldChg>
      <pc:sldChg chg="modSp mod">
        <pc:chgData name="Andrey Ziganshin" userId="b120afe6-0ff1-44de-8002-86ab6bfe6313" providerId="ADAL" clId="{7FA62D20-5341-4D17-9B2D-BF989348A0F8}" dt="2024-10-22T11:55:45.755" v="1" actId="113"/>
        <pc:sldMkLst>
          <pc:docMk/>
          <pc:sldMk cId="178602884" sldId="308"/>
        </pc:sldMkLst>
        <pc:graphicFrameChg chg="modGraphic">
          <ac:chgData name="Andrey Ziganshin" userId="b120afe6-0ff1-44de-8002-86ab6bfe6313" providerId="ADAL" clId="{7FA62D20-5341-4D17-9B2D-BF989348A0F8}" dt="2024-10-22T11:55:45.755" v="1" actId="113"/>
          <ac:graphicFrameMkLst>
            <pc:docMk/>
            <pc:sldMk cId="178602884" sldId="308"/>
            <ac:graphicFrameMk id="4" creationId="{3C1E9B24-C8F5-43A0-A2A6-0D236658E047}"/>
          </ac:graphicFrameMkLst>
        </pc:graphicFrameChg>
      </pc:sldChg>
      <pc:sldChg chg="addSp modSp new mod">
        <pc:chgData name="Andrey Ziganshin" userId="b120afe6-0ff1-44de-8002-86ab6bfe6313" providerId="ADAL" clId="{7FA62D20-5341-4D17-9B2D-BF989348A0F8}" dt="2024-10-23T06:50:16.916" v="1074" actId="20577"/>
        <pc:sldMkLst>
          <pc:docMk/>
          <pc:sldMk cId="3419146397" sldId="521"/>
        </pc:sldMkLst>
        <pc:spChg chg="add mod">
          <ac:chgData name="Andrey Ziganshin" userId="b120afe6-0ff1-44de-8002-86ab6bfe6313" providerId="ADAL" clId="{7FA62D20-5341-4D17-9B2D-BF989348A0F8}" dt="2024-10-22T12:06:12.484" v="469" actId="20577"/>
          <ac:spMkLst>
            <pc:docMk/>
            <pc:sldMk cId="3419146397" sldId="521"/>
            <ac:spMk id="2" creationId="{0B2F4B5B-FB2C-2320-DC54-55585DCC4502}"/>
          </ac:spMkLst>
        </pc:spChg>
        <pc:spChg chg="add mod">
          <ac:chgData name="Andrey Ziganshin" userId="b120afe6-0ff1-44de-8002-86ab6bfe6313" providerId="ADAL" clId="{7FA62D20-5341-4D17-9B2D-BF989348A0F8}" dt="2024-10-22T12:01:22.383" v="96" actId="1076"/>
          <ac:spMkLst>
            <pc:docMk/>
            <pc:sldMk cId="3419146397" sldId="521"/>
            <ac:spMk id="11" creationId="{58FA7DC0-4403-12C8-1340-F9FFECAED498}"/>
          </ac:spMkLst>
        </pc:spChg>
        <pc:spChg chg="add mod">
          <ac:chgData name="Andrey Ziganshin" userId="b120afe6-0ff1-44de-8002-86ab6bfe6313" providerId="ADAL" clId="{7FA62D20-5341-4D17-9B2D-BF989348A0F8}" dt="2024-10-22T12:01:30.470" v="98" actId="1076"/>
          <ac:spMkLst>
            <pc:docMk/>
            <pc:sldMk cId="3419146397" sldId="521"/>
            <ac:spMk id="12" creationId="{C5166D34-5A5D-7EFE-0AF9-5BCC718722FC}"/>
          </ac:spMkLst>
        </pc:spChg>
        <pc:spChg chg="add mod">
          <ac:chgData name="Andrey Ziganshin" userId="b120afe6-0ff1-44de-8002-86ab6bfe6313" providerId="ADAL" clId="{7FA62D20-5341-4D17-9B2D-BF989348A0F8}" dt="2024-10-22T12:01:39.754" v="100" actId="1076"/>
          <ac:spMkLst>
            <pc:docMk/>
            <pc:sldMk cId="3419146397" sldId="521"/>
            <ac:spMk id="13" creationId="{A7D304B6-CC62-AC95-AAC7-7989F18B782D}"/>
          </ac:spMkLst>
        </pc:spChg>
        <pc:spChg chg="add mod">
          <ac:chgData name="Andrey Ziganshin" userId="b120afe6-0ff1-44de-8002-86ab6bfe6313" providerId="ADAL" clId="{7FA62D20-5341-4D17-9B2D-BF989348A0F8}" dt="2024-10-22T12:01:48.147" v="102" actId="1076"/>
          <ac:spMkLst>
            <pc:docMk/>
            <pc:sldMk cId="3419146397" sldId="521"/>
            <ac:spMk id="14" creationId="{2AD191E9-6DEA-ADA1-5584-FCE393BCE0BF}"/>
          </ac:spMkLst>
        </pc:spChg>
        <pc:spChg chg="add mod">
          <ac:chgData name="Andrey Ziganshin" userId="b120afe6-0ff1-44de-8002-86ab6bfe6313" providerId="ADAL" clId="{7FA62D20-5341-4D17-9B2D-BF989348A0F8}" dt="2024-10-22T12:02:01.255" v="104" actId="1076"/>
          <ac:spMkLst>
            <pc:docMk/>
            <pc:sldMk cId="3419146397" sldId="521"/>
            <ac:spMk id="15" creationId="{6118CD51-4E97-0697-9AF1-700AD16DB1D7}"/>
          </ac:spMkLst>
        </pc:spChg>
        <pc:spChg chg="add mod">
          <ac:chgData name="Andrey Ziganshin" userId="b120afe6-0ff1-44de-8002-86ab6bfe6313" providerId="ADAL" clId="{7FA62D20-5341-4D17-9B2D-BF989348A0F8}" dt="2024-10-22T12:05:43.179" v="444" actId="207"/>
          <ac:spMkLst>
            <pc:docMk/>
            <pc:sldMk cId="3419146397" sldId="521"/>
            <ac:spMk id="16" creationId="{256F777B-A557-F837-F2E7-44BE591B7B44}"/>
          </ac:spMkLst>
        </pc:spChg>
        <pc:spChg chg="add mod">
          <ac:chgData name="Andrey Ziganshin" userId="b120afe6-0ff1-44de-8002-86ab6bfe6313" providerId="ADAL" clId="{7FA62D20-5341-4D17-9B2D-BF989348A0F8}" dt="2024-10-23T06:50:16.916" v="1074" actId="20577"/>
          <ac:spMkLst>
            <pc:docMk/>
            <pc:sldMk cId="3419146397" sldId="521"/>
            <ac:spMk id="17" creationId="{76FD13D3-C907-DF0D-A600-9596AE839E15}"/>
          </ac:spMkLst>
        </pc:spChg>
        <pc:picChg chg="add mod">
          <ac:chgData name="Andrey Ziganshin" userId="b120afe6-0ff1-44de-8002-86ab6bfe6313" providerId="ADAL" clId="{7FA62D20-5341-4D17-9B2D-BF989348A0F8}" dt="2024-10-22T12:00:22.721" v="64" actId="1076"/>
          <ac:picMkLst>
            <pc:docMk/>
            <pc:sldMk cId="3419146397" sldId="521"/>
            <ac:picMk id="3" creationId="{60E70462-F5F6-45FE-A92F-BB3760877580}"/>
          </ac:picMkLst>
        </pc:picChg>
        <pc:picChg chg="add mod">
          <ac:chgData name="Andrey Ziganshin" userId="b120afe6-0ff1-44de-8002-86ab6bfe6313" providerId="ADAL" clId="{7FA62D20-5341-4D17-9B2D-BF989348A0F8}" dt="2024-10-22T12:00:24.600" v="65" actId="1076"/>
          <ac:picMkLst>
            <pc:docMk/>
            <pc:sldMk cId="3419146397" sldId="521"/>
            <ac:picMk id="4" creationId="{831E438D-D2DC-527E-3584-802256A16EA8}"/>
          </ac:picMkLst>
        </pc:picChg>
        <pc:picChg chg="add mod">
          <ac:chgData name="Andrey Ziganshin" userId="b120afe6-0ff1-44de-8002-86ab6bfe6313" providerId="ADAL" clId="{7FA62D20-5341-4D17-9B2D-BF989348A0F8}" dt="2024-10-22T12:00:28.937" v="67" actId="1076"/>
          <ac:picMkLst>
            <pc:docMk/>
            <pc:sldMk cId="3419146397" sldId="521"/>
            <ac:picMk id="5" creationId="{F4479618-8033-2DD9-534F-EB06EFD6E71F}"/>
          </ac:picMkLst>
        </pc:picChg>
        <pc:picChg chg="add mod">
          <ac:chgData name="Andrey Ziganshin" userId="b120afe6-0ff1-44de-8002-86ab6bfe6313" providerId="ADAL" clId="{7FA62D20-5341-4D17-9B2D-BF989348A0F8}" dt="2024-10-22T12:00:26.955" v="66" actId="1076"/>
          <ac:picMkLst>
            <pc:docMk/>
            <pc:sldMk cId="3419146397" sldId="521"/>
            <ac:picMk id="6" creationId="{EA1571DB-8F63-8563-5C04-033FD797DD18}"/>
          </ac:picMkLst>
        </pc:picChg>
        <pc:picChg chg="add mod">
          <ac:chgData name="Andrey Ziganshin" userId="b120afe6-0ff1-44de-8002-86ab6bfe6313" providerId="ADAL" clId="{7FA62D20-5341-4D17-9B2D-BF989348A0F8}" dt="2024-10-22T12:00:31.607" v="68" actId="1076"/>
          <ac:picMkLst>
            <pc:docMk/>
            <pc:sldMk cId="3419146397" sldId="521"/>
            <ac:picMk id="7" creationId="{A1CC79E3-FC7B-5DD0-B564-72E937F92940}"/>
          </ac:picMkLst>
        </pc:picChg>
        <pc:cxnChg chg="add mod">
          <ac:chgData name="Andrey Ziganshin" userId="b120afe6-0ff1-44de-8002-86ab6bfe6313" providerId="ADAL" clId="{7FA62D20-5341-4D17-9B2D-BF989348A0F8}" dt="2024-10-22T12:00:57.074" v="92" actId="1582"/>
          <ac:cxnSpMkLst>
            <pc:docMk/>
            <pc:sldMk cId="3419146397" sldId="521"/>
            <ac:cxnSpMk id="9" creationId="{5A1CC88B-C587-7487-C30F-B686ABE62C80}"/>
          </ac:cxnSpMkLst>
        </pc:cxnChg>
        <pc:cxnChg chg="add mod">
          <ac:chgData name="Andrey Ziganshin" userId="b120afe6-0ff1-44de-8002-86ab6bfe6313" providerId="ADAL" clId="{7FA62D20-5341-4D17-9B2D-BF989348A0F8}" dt="2024-10-22T12:02:29.373" v="124" actId="1076"/>
          <ac:cxnSpMkLst>
            <pc:docMk/>
            <pc:sldMk cId="3419146397" sldId="521"/>
            <ac:cxnSpMk id="10" creationId="{7ACF4C21-5789-C585-CB13-EB8675D1B0E7}"/>
          </ac:cxnSpMkLst>
        </pc:cxnChg>
      </pc:sldChg>
      <pc:sldChg chg="addSp modSp new mod">
        <pc:chgData name="Andrey Ziganshin" userId="b120afe6-0ff1-44de-8002-86ab6bfe6313" providerId="ADAL" clId="{7FA62D20-5341-4D17-9B2D-BF989348A0F8}" dt="2024-10-22T12:12:41.876" v="1064" actId="208"/>
        <pc:sldMkLst>
          <pc:docMk/>
          <pc:sldMk cId="1974450447" sldId="522"/>
        </pc:sldMkLst>
        <pc:spChg chg="add mod">
          <ac:chgData name="Andrey Ziganshin" userId="b120afe6-0ff1-44de-8002-86ab6bfe6313" providerId="ADAL" clId="{7FA62D20-5341-4D17-9B2D-BF989348A0F8}" dt="2024-10-22T12:06:09.311" v="468" actId="20577"/>
          <ac:spMkLst>
            <pc:docMk/>
            <pc:sldMk cId="1974450447" sldId="522"/>
            <ac:spMk id="2" creationId="{D89AF9C0-9F19-FDF5-FACE-EE6B1FD722BA}"/>
          </ac:spMkLst>
        </pc:spChg>
        <pc:spChg chg="add mod">
          <ac:chgData name="Andrey Ziganshin" userId="b120afe6-0ff1-44de-8002-86ab6bfe6313" providerId="ADAL" clId="{7FA62D20-5341-4D17-9B2D-BF989348A0F8}" dt="2024-10-22T12:12:27.981" v="1062" actId="20577"/>
          <ac:spMkLst>
            <pc:docMk/>
            <pc:sldMk cId="1974450447" sldId="522"/>
            <ac:spMk id="3" creationId="{966B5373-D72A-6795-F1CB-C7394E8B8585}"/>
          </ac:spMkLst>
        </pc:spChg>
        <pc:spChg chg="add mod">
          <ac:chgData name="Andrey Ziganshin" userId="b120afe6-0ff1-44de-8002-86ab6bfe6313" providerId="ADAL" clId="{7FA62D20-5341-4D17-9B2D-BF989348A0F8}" dt="2024-10-22T12:12:13.882" v="1059" actId="208"/>
          <ac:spMkLst>
            <pc:docMk/>
            <pc:sldMk cId="1974450447" sldId="522"/>
            <ac:spMk id="4" creationId="{E37DE06C-B2BE-7E79-D7A9-E9ABBE4D76EC}"/>
          </ac:spMkLst>
        </pc:spChg>
        <pc:spChg chg="add mod">
          <ac:chgData name="Andrey Ziganshin" userId="b120afe6-0ff1-44de-8002-86ab6bfe6313" providerId="ADAL" clId="{7FA62D20-5341-4D17-9B2D-BF989348A0F8}" dt="2024-10-22T12:12:41.876" v="1064" actId="208"/>
          <ac:spMkLst>
            <pc:docMk/>
            <pc:sldMk cId="1974450447" sldId="522"/>
            <ac:spMk id="5" creationId="{A5F57C3A-5618-DFBC-AF86-8F00D6ACD872}"/>
          </ac:spMkLst>
        </pc:spChg>
      </pc:sldChg>
    </pc:docChg>
  </pc:docChgLst>
  <pc:docChgLst>
    <pc:chgData name="Andrey Ziganshin" userId="b120afe6-0ff1-44de-8002-86ab6bfe6313" providerId="ADAL" clId="{F91CA0FB-1F24-4875-AF0B-826C4CDC8284}"/>
    <pc:docChg chg="undo custSel addSld delSld modSld sldOrd">
      <pc:chgData name="Andrey Ziganshin" userId="b120afe6-0ff1-44de-8002-86ab6bfe6313" providerId="ADAL" clId="{F91CA0FB-1F24-4875-AF0B-826C4CDC8284}" dt="2024-10-24T07:39:21.951" v="1509" actId="208"/>
      <pc:docMkLst>
        <pc:docMk/>
      </pc:docMkLst>
      <pc:sldChg chg="del">
        <pc:chgData name="Andrey Ziganshin" userId="b120afe6-0ff1-44de-8002-86ab6bfe6313" providerId="ADAL" clId="{F91CA0FB-1F24-4875-AF0B-826C4CDC8284}" dt="2024-10-23T10:25:55.310" v="8" actId="47"/>
        <pc:sldMkLst>
          <pc:docMk/>
          <pc:sldMk cId="727536580" sldId="289"/>
        </pc:sldMkLst>
      </pc:sldChg>
      <pc:sldChg chg="addSp delSp modSp new mod modClrScheme chgLayout">
        <pc:chgData name="Andrey Ziganshin" userId="b120afe6-0ff1-44de-8002-86ab6bfe6313" providerId="ADAL" clId="{F91CA0FB-1F24-4875-AF0B-826C4CDC8284}" dt="2024-10-24T07:35:31.828" v="1256" actId="113"/>
        <pc:sldMkLst>
          <pc:docMk/>
          <pc:sldMk cId="2895800893" sldId="316"/>
        </pc:sldMkLst>
        <pc:spChg chg="add mod">
          <ac:chgData name="Andrey Ziganshin" userId="b120afe6-0ff1-44de-8002-86ab6bfe6313" providerId="ADAL" clId="{F91CA0FB-1F24-4875-AF0B-826C4CDC8284}" dt="2024-10-24T07:23:54.597" v="38" actId="1076"/>
          <ac:spMkLst>
            <pc:docMk/>
            <pc:sldMk cId="2895800893" sldId="316"/>
            <ac:spMk id="2" creationId="{6DFAC8E1-3896-5A5B-3505-5B421519D402}"/>
          </ac:spMkLst>
        </pc:spChg>
        <pc:spChg chg="add del mod">
          <ac:chgData name="Andrey Ziganshin" userId="b120afe6-0ff1-44de-8002-86ab6bfe6313" providerId="ADAL" clId="{F91CA0FB-1F24-4875-AF0B-826C4CDC8284}" dt="2024-10-24T07:27:31.022" v="440" actId="478"/>
          <ac:spMkLst>
            <pc:docMk/>
            <pc:sldMk cId="2895800893" sldId="316"/>
            <ac:spMk id="3" creationId="{6A389F1E-201C-9C71-351D-E923870B8599}"/>
          </ac:spMkLst>
        </pc:spChg>
        <pc:spChg chg="add mod">
          <ac:chgData name="Andrey Ziganshin" userId="b120afe6-0ff1-44de-8002-86ab6bfe6313" providerId="ADAL" clId="{F91CA0FB-1F24-4875-AF0B-826C4CDC8284}" dt="2024-10-24T07:35:29.671" v="1255" actId="113"/>
          <ac:spMkLst>
            <pc:docMk/>
            <pc:sldMk cId="2895800893" sldId="316"/>
            <ac:spMk id="4" creationId="{F7F44027-AE50-00FB-F942-D764F2D5F0E4}"/>
          </ac:spMkLst>
        </pc:spChg>
        <pc:spChg chg="add mod">
          <ac:chgData name="Andrey Ziganshin" userId="b120afe6-0ff1-44de-8002-86ab6bfe6313" providerId="ADAL" clId="{F91CA0FB-1F24-4875-AF0B-826C4CDC8284}" dt="2024-10-24T07:35:31.828" v="1256" actId="113"/>
          <ac:spMkLst>
            <pc:docMk/>
            <pc:sldMk cId="2895800893" sldId="316"/>
            <ac:spMk id="5" creationId="{8B693EE3-CC24-0121-78B4-BC248C3402AE}"/>
          </ac:spMkLst>
        </pc:spChg>
        <pc:cxnChg chg="add mod">
          <ac:chgData name="Andrey Ziganshin" userId="b120afe6-0ff1-44de-8002-86ab6bfe6313" providerId="ADAL" clId="{F91CA0FB-1F24-4875-AF0B-826C4CDC8284}" dt="2024-10-24T07:35:23.275" v="1254" actId="1076"/>
          <ac:cxnSpMkLst>
            <pc:docMk/>
            <pc:sldMk cId="2895800893" sldId="316"/>
            <ac:cxnSpMk id="7" creationId="{AB36AA72-3EE7-2EA5-F56B-C08D02920952}"/>
          </ac:cxnSpMkLst>
        </pc:cxnChg>
      </pc:sldChg>
      <pc:sldChg chg="del">
        <pc:chgData name="Andrey Ziganshin" userId="b120afe6-0ff1-44de-8002-86ab6bfe6313" providerId="ADAL" clId="{F91CA0FB-1F24-4875-AF0B-826C4CDC8284}" dt="2024-10-23T10:24:21.669" v="3" actId="47"/>
        <pc:sldMkLst>
          <pc:docMk/>
          <pc:sldMk cId="3404767701" sldId="316"/>
        </pc:sldMkLst>
      </pc:sldChg>
      <pc:sldChg chg="addSp modSp new mod">
        <pc:chgData name="Andrey Ziganshin" userId="b120afe6-0ff1-44de-8002-86ab6bfe6313" providerId="ADAL" clId="{F91CA0FB-1F24-4875-AF0B-826C4CDC8284}" dt="2024-10-24T07:39:21.951" v="1509" actId="208"/>
        <pc:sldMkLst>
          <pc:docMk/>
          <pc:sldMk cId="3016826273" sldId="317"/>
        </pc:sldMkLst>
        <pc:spChg chg="add mod">
          <ac:chgData name="Andrey Ziganshin" userId="b120afe6-0ff1-44de-8002-86ab6bfe6313" providerId="ADAL" clId="{F91CA0FB-1F24-4875-AF0B-826C4CDC8284}" dt="2024-10-24T07:36:38.176" v="1272" actId="113"/>
          <ac:spMkLst>
            <pc:docMk/>
            <pc:sldMk cId="3016826273" sldId="317"/>
            <ac:spMk id="2" creationId="{F7AF7ED3-B676-AC08-B843-543704F1A646}"/>
          </ac:spMkLst>
        </pc:spChg>
        <pc:spChg chg="add mod">
          <ac:chgData name="Andrey Ziganshin" userId="b120afe6-0ff1-44de-8002-86ab6bfe6313" providerId="ADAL" clId="{F91CA0FB-1F24-4875-AF0B-826C4CDC8284}" dt="2024-10-24T07:37:40.012" v="1355" actId="113"/>
          <ac:spMkLst>
            <pc:docMk/>
            <pc:sldMk cId="3016826273" sldId="317"/>
            <ac:spMk id="3" creationId="{8795804A-1A12-6498-73D0-E00E73EA6A93}"/>
          </ac:spMkLst>
        </pc:spChg>
        <pc:spChg chg="add mod">
          <ac:chgData name="Andrey Ziganshin" userId="b120afe6-0ff1-44de-8002-86ab6bfe6313" providerId="ADAL" clId="{F91CA0FB-1F24-4875-AF0B-826C4CDC8284}" dt="2024-10-24T07:39:21.951" v="1509" actId="208"/>
          <ac:spMkLst>
            <pc:docMk/>
            <pc:sldMk cId="3016826273" sldId="317"/>
            <ac:spMk id="4" creationId="{079C9221-DC17-D6CA-E681-FB2E08E06355}"/>
          </ac:spMkLst>
        </pc:spChg>
      </pc:sldChg>
      <pc:sldChg chg="del mod">
        <pc:chgData name="Andrey Ziganshin" userId="b120afe6-0ff1-44de-8002-86ab6bfe6313" providerId="ADAL" clId="{F91CA0FB-1F24-4875-AF0B-826C4CDC8284}" dt="2024-10-23T10:25:25.352" v="6" actId="47"/>
        <pc:sldMkLst>
          <pc:docMk/>
          <pc:sldMk cId="3306809493" sldId="519"/>
        </pc:sldMkLst>
      </pc:sldChg>
      <pc:sldChg chg="del">
        <pc:chgData name="Andrey Ziganshin" userId="b120afe6-0ff1-44de-8002-86ab6bfe6313" providerId="ADAL" clId="{F91CA0FB-1F24-4875-AF0B-826C4CDC8284}" dt="2024-10-23T10:25:28.530" v="7" actId="47"/>
        <pc:sldMkLst>
          <pc:docMk/>
          <pc:sldMk cId="3516100240" sldId="520"/>
        </pc:sldMkLst>
      </pc:sldChg>
      <pc:sldChg chg="del ord">
        <pc:chgData name="Andrey Ziganshin" userId="b120afe6-0ff1-44de-8002-86ab6bfe6313" providerId="ADAL" clId="{F91CA0FB-1F24-4875-AF0B-826C4CDC8284}" dt="2024-10-24T07:18:59.956" v="9" actId="47"/>
        <pc:sldMkLst>
          <pc:docMk/>
          <pc:sldMk cId="3419146397" sldId="521"/>
        </pc:sldMkLst>
      </pc:sldChg>
      <pc:sldChg chg="del">
        <pc:chgData name="Andrey Ziganshin" userId="b120afe6-0ff1-44de-8002-86ab6bfe6313" providerId="ADAL" clId="{F91CA0FB-1F24-4875-AF0B-826C4CDC8284}" dt="2024-10-23T10:23:43.092" v="0" actId="47"/>
        <pc:sldMkLst>
          <pc:docMk/>
          <pc:sldMk cId="1974450447" sldId="52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одяк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Мушкет Плюс 0,4</c:v>
                </c:pt>
                <c:pt idx="1">
                  <c:v>Мушкет Плюс 0,5</c:v>
                </c:pt>
                <c:pt idx="2">
                  <c:v>Мушкет Плюс 0,6</c:v>
                </c:pt>
                <c:pt idx="3">
                  <c:v>Мушкет Плюс 0,7</c:v>
                </c:pt>
              </c:strCache>
            </c:strRef>
          </c:cat>
          <c:val>
            <c:numRef>
              <c:f>Лист1!$B$2:$B$5</c:f>
              <c:numCache>
                <c:formatCode>0</c:formatCode>
                <c:ptCount val="4"/>
                <c:pt idx="0">
                  <c:v>93.5</c:v>
                </c:pt>
                <c:pt idx="1">
                  <c:v>94</c:v>
                </c:pt>
                <c:pt idx="2">
                  <c:v>95</c:v>
                </c:pt>
                <c:pt idx="3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DF-4BE5-BAB1-0E3923C0CB8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Молочай лозный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Мушкет Плюс 0,4</c:v>
                </c:pt>
                <c:pt idx="1">
                  <c:v>Мушкет Плюс 0,5</c:v>
                </c:pt>
                <c:pt idx="2">
                  <c:v>Мушкет Плюс 0,6</c:v>
                </c:pt>
                <c:pt idx="3">
                  <c:v>Мушкет Плюс 0,7</c:v>
                </c:pt>
              </c:strCache>
            </c:strRef>
          </c:cat>
          <c:val>
            <c:numRef>
              <c:f>Лист1!$C$2:$C$5</c:f>
              <c:numCache>
                <c:formatCode>0</c:formatCode>
                <c:ptCount val="4"/>
                <c:pt idx="0">
                  <c:v>90</c:v>
                </c:pt>
                <c:pt idx="1">
                  <c:v>91</c:v>
                </c:pt>
                <c:pt idx="2">
                  <c:v>92</c:v>
                </c:pt>
                <c:pt idx="3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DF-4BE5-BAB1-0E3923C0CB8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Вьюнок полевой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Мушкет Плюс 0,4</c:v>
                </c:pt>
                <c:pt idx="1">
                  <c:v>Мушкет Плюс 0,5</c:v>
                </c:pt>
                <c:pt idx="2">
                  <c:v>Мушкет Плюс 0,6</c:v>
                </c:pt>
                <c:pt idx="3">
                  <c:v>Мушкет Плюс 0,7</c:v>
                </c:pt>
              </c:strCache>
            </c:strRef>
          </c:cat>
          <c:val>
            <c:numRef>
              <c:f>Лист1!$D$2:$D$5</c:f>
              <c:numCache>
                <c:formatCode>0</c:formatCode>
                <c:ptCount val="4"/>
                <c:pt idx="0">
                  <c:v>94</c:v>
                </c:pt>
                <c:pt idx="1">
                  <c:v>98</c:v>
                </c:pt>
                <c:pt idx="2">
                  <c:v>100</c:v>
                </c:pt>
                <c:pt idx="3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3DF-4BE5-BAB1-0E3923C0CB8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Латук татарский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Мушкет Плюс 0,4</c:v>
                </c:pt>
                <c:pt idx="1">
                  <c:v>Мушкет Плюс 0,5</c:v>
                </c:pt>
                <c:pt idx="2">
                  <c:v>Мушкет Плюс 0,6</c:v>
                </c:pt>
                <c:pt idx="3">
                  <c:v>Мушкет Плюс 0,7</c:v>
                </c:pt>
              </c:strCache>
            </c:strRef>
          </c:cat>
          <c:val>
            <c:numRef>
              <c:f>Лист1!$E$2:$E$5</c:f>
              <c:numCache>
                <c:formatCode>0</c:formatCode>
                <c:ptCount val="4"/>
                <c:pt idx="0">
                  <c:v>96</c:v>
                </c:pt>
                <c:pt idx="1">
                  <c:v>96</c:v>
                </c:pt>
                <c:pt idx="2">
                  <c:v>97</c:v>
                </c:pt>
                <c:pt idx="3">
                  <c:v>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3DF-4BE5-BAB1-0E3923C0CB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87654888"/>
        <c:axId val="387655216"/>
      </c:barChart>
      <c:catAx>
        <c:axId val="387654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7655216"/>
        <c:crosses val="autoZero"/>
        <c:auto val="1"/>
        <c:lblAlgn val="ctr"/>
        <c:lblOffset val="100"/>
        <c:noMultiLvlLbl val="0"/>
      </c:catAx>
      <c:valAx>
        <c:axId val="387655216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dirty="0"/>
                  <a:t>Эффективность, %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7654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одяк</c:v>
                </c:pt>
              </c:strCache>
            </c:strRef>
          </c:tx>
          <c:spPr>
            <a:solidFill>
              <a:srgbClr val="98FF98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cat>
            <c:strRef>
              <c:f>Лист1!$A$2:$A$8</c:f>
              <c:strCache>
                <c:ptCount val="7"/>
                <c:pt idx="0">
                  <c:v>Секато Турбо + 2,4-Д эфир (0,05+0,35)</c:v>
                </c:pt>
                <c:pt idx="1">
                  <c:v>Мушкет Плюс 0,5</c:v>
                </c:pt>
                <c:pt idx="2">
                  <c:v>Мушкет Плюс 0,7</c:v>
                </c:pt>
                <c:pt idx="3">
                  <c:v>метсульфурон + трибенурон + 2,4-Д эфир (0,007+0,35)</c:v>
                </c:pt>
                <c:pt idx="4">
                  <c:v>2,4-Д эфир 0,6</c:v>
                </c:pt>
                <c:pt idx="5">
                  <c:v>аминопиралид + флорасулам 0,033</c:v>
                </c:pt>
                <c:pt idx="6">
                  <c:v>2,4-Д эфир + дикамба 0,6</c:v>
                </c:pt>
              </c:strCache>
            </c:strRef>
          </c:cat>
          <c:val>
            <c:numRef>
              <c:f>Лист1!$B$2:$B$8</c:f>
              <c:numCache>
                <c:formatCode>0</c:formatCode>
                <c:ptCount val="7"/>
                <c:pt idx="0">
                  <c:v>82</c:v>
                </c:pt>
                <c:pt idx="1">
                  <c:v>92</c:v>
                </c:pt>
                <c:pt idx="2">
                  <c:v>97</c:v>
                </c:pt>
                <c:pt idx="3">
                  <c:v>83</c:v>
                </c:pt>
                <c:pt idx="4" formatCode="General">
                  <c:v>77</c:v>
                </c:pt>
                <c:pt idx="5" formatCode="General">
                  <c:v>66</c:v>
                </c:pt>
                <c:pt idx="6" formatCode="General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DF-4BE5-BAB1-0E3923C0CB8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ьюнок полевой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cat>
            <c:strRef>
              <c:f>Лист1!$A$2:$A$8</c:f>
              <c:strCache>
                <c:ptCount val="7"/>
                <c:pt idx="0">
                  <c:v>Секато Турбо + 2,4-Д эфир (0,05+0,35)</c:v>
                </c:pt>
                <c:pt idx="1">
                  <c:v>Мушкет Плюс 0,5</c:v>
                </c:pt>
                <c:pt idx="2">
                  <c:v>Мушкет Плюс 0,7</c:v>
                </c:pt>
                <c:pt idx="3">
                  <c:v>метсульфурон + трибенурон + 2,4-Д эфир (0,007+0,35)</c:v>
                </c:pt>
                <c:pt idx="4">
                  <c:v>2,4-Д эфир 0,6</c:v>
                </c:pt>
                <c:pt idx="5">
                  <c:v>аминопиралид + флорасулам 0,033</c:v>
                </c:pt>
                <c:pt idx="6">
                  <c:v>2,4-Д эфир + дикамба 0,6</c:v>
                </c:pt>
              </c:strCache>
            </c:strRef>
          </c:cat>
          <c:val>
            <c:numRef>
              <c:f>Лист1!$C$2:$C$8</c:f>
              <c:numCache>
                <c:formatCode>0</c:formatCode>
                <c:ptCount val="7"/>
                <c:pt idx="0">
                  <c:v>80</c:v>
                </c:pt>
                <c:pt idx="1">
                  <c:v>93</c:v>
                </c:pt>
                <c:pt idx="2">
                  <c:v>95</c:v>
                </c:pt>
                <c:pt idx="3">
                  <c:v>82</c:v>
                </c:pt>
                <c:pt idx="4" formatCode="General">
                  <c:v>82</c:v>
                </c:pt>
                <c:pt idx="5" formatCode="General">
                  <c:v>51</c:v>
                </c:pt>
                <c:pt idx="6" formatCode="General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DF-4BE5-BAB1-0E3923C0CB8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Молочай лозный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Лист1!$A$2:$A$8</c:f>
              <c:strCache>
                <c:ptCount val="7"/>
                <c:pt idx="0">
                  <c:v>Секато Турбо + 2,4-Д эфир (0,05+0,35)</c:v>
                </c:pt>
                <c:pt idx="1">
                  <c:v>Мушкет Плюс 0,5</c:v>
                </c:pt>
                <c:pt idx="2">
                  <c:v>Мушкет Плюс 0,7</c:v>
                </c:pt>
                <c:pt idx="3">
                  <c:v>метсульфурон + трибенурон + 2,4-Д эфир (0,007+0,35)</c:v>
                </c:pt>
                <c:pt idx="4">
                  <c:v>2,4-Д эфир 0,6</c:v>
                </c:pt>
                <c:pt idx="5">
                  <c:v>аминопиралид + флорасулам 0,033</c:v>
                </c:pt>
                <c:pt idx="6">
                  <c:v>2,4-Д эфир + дикамба 0,6</c:v>
                </c:pt>
              </c:strCache>
            </c:strRef>
          </c:cat>
          <c:val>
            <c:numRef>
              <c:f>Лист1!$D$2:$D$8</c:f>
              <c:numCache>
                <c:formatCode>0</c:formatCode>
                <c:ptCount val="7"/>
                <c:pt idx="0">
                  <c:v>75</c:v>
                </c:pt>
                <c:pt idx="1">
                  <c:v>90</c:v>
                </c:pt>
                <c:pt idx="2">
                  <c:v>95</c:v>
                </c:pt>
                <c:pt idx="3">
                  <c:v>80</c:v>
                </c:pt>
                <c:pt idx="4" formatCode="General">
                  <c:v>75</c:v>
                </c:pt>
                <c:pt idx="5" formatCode="General">
                  <c:v>40</c:v>
                </c:pt>
                <c:pt idx="6" formatCode="General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3DF-4BE5-BAB1-0E3923C0CB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87654888"/>
        <c:axId val="387655216"/>
      </c:barChart>
      <c:catAx>
        <c:axId val="387654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7655216"/>
        <c:crosses val="autoZero"/>
        <c:auto val="1"/>
        <c:lblAlgn val="ctr"/>
        <c:lblOffset val="100"/>
        <c:noMultiLvlLbl val="0"/>
      </c:catAx>
      <c:valAx>
        <c:axId val="387655216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dirty="0"/>
                  <a:t>Эффективность, %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7654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cap="none" spc="2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800" b="0" i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лабые места гербицидов</a:t>
            </a:r>
            <a:r>
              <a:rPr lang="ru-RU" sz="1800" b="0" i="0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на основе 2,4-Д эфир + флорасулам</a:t>
            </a:r>
            <a:endParaRPr lang="ru-RU" sz="1800" b="0" i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c:rich>
      </c:tx>
      <c:layout>
        <c:manualLayout>
          <c:xMode val="edge"/>
          <c:yMode val="edge"/>
          <c:x val="0.11098925070351726"/>
          <c:y val="6.468350228059119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cap="none" spc="2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27347590396755328"/>
          <c:y val="0.27924613392216774"/>
          <c:w val="0.47635213186222641"/>
          <c:h val="0.64801669165915909"/>
        </c:manualLayout>
      </c:layout>
      <c:radarChart>
        <c:radarStyle val="fill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ушкет Плюс 0,6 л/га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cat>
            <c:strRef>
              <c:f>Лист1!$A$2:$A$8</c:f>
              <c:strCache>
                <c:ptCount val="7"/>
                <c:pt idx="0">
                  <c:v>Пикульник (виды)</c:v>
                </c:pt>
                <c:pt idx="1">
                  <c:v>Чистец (виды)</c:v>
                </c:pt>
                <c:pt idx="2">
                  <c:v>Горец вьюнковый</c:v>
                </c:pt>
                <c:pt idx="3">
                  <c:v>Гречиха татарская</c:v>
                </c:pt>
                <c:pt idx="4">
                  <c:v>Аистник цикутовый</c:v>
                </c:pt>
                <c:pt idx="5">
                  <c:v>Вероника плющелистная</c:v>
                </c:pt>
                <c:pt idx="6">
                  <c:v>Фиалка полевая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92</c:v>
                </c:pt>
                <c:pt idx="1">
                  <c:v>90</c:v>
                </c:pt>
                <c:pt idx="2">
                  <c:v>88</c:v>
                </c:pt>
                <c:pt idx="3">
                  <c:v>95</c:v>
                </c:pt>
                <c:pt idx="4">
                  <c:v>97</c:v>
                </c:pt>
                <c:pt idx="5">
                  <c:v>96</c:v>
                </c:pt>
                <c:pt idx="6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E2-4A1A-A6CF-2D08CFCC59C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,4-Д эфир + флорасулам 0,5 л/га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110000"/>
                    <a:satMod val="105000"/>
                    <a:tint val="67000"/>
                  </a:schemeClr>
                </a:gs>
                <a:gs pos="50000">
                  <a:schemeClr val="accent2">
                    <a:lumMod val="105000"/>
                    <a:satMod val="103000"/>
                    <a:tint val="73000"/>
                  </a:schemeClr>
                </a:gs>
                <a:gs pos="100000">
                  <a:schemeClr val="accent2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2">
                  <a:shade val="95000"/>
                </a:schemeClr>
              </a:solidFill>
              <a:round/>
            </a:ln>
            <a:effectLst/>
          </c:spPr>
          <c:cat>
            <c:strRef>
              <c:f>Лист1!$A$2:$A$8</c:f>
              <c:strCache>
                <c:ptCount val="7"/>
                <c:pt idx="0">
                  <c:v>Пикульник (виды)</c:v>
                </c:pt>
                <c:pt idx="1">
                  <c:v>Чистец (виды)</c:v>
                </c:pt>
                <c:pt idx="2">
                  <c:v>Горец вьюнковый</c:v>
                </c:pt>
                <c:pt idx="3">
                  <c:v>Гречиха татарская</c:v>
                </c:pt>
                <c:pt idx="4">
                  <c:v>Аистник цикутовый</c:v>
                </c:pt>
                <c:pt idx="5">
                  <c:v>Вероника плющелистная</c:v>
                </c:pt>
                <c:pt idx="6">
                  <c:v>Фиалка полевая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30</c:v>
                </c:pt>
                <c:pt idx="1">
                  <c:v>25</c:v>
                </c:pt>
                <c:pt idx="2">
                  <c:v>67</c:v>
                </c:pt>
                <c:pt idx="3">
                  <c:v>71</c:v>
                </c:pt>
                <c:pt idx="4">
                  <c:v>60</c:v>
                </c:pt>
                <c:pt idx="5">
                  <c:v>75</c:v>
                </c:pt>
                <c:pt idx="6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9E2-4A1A-A6CF-2D08CFCC59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84323448"/>
        <c:axId val="1384325744"/>
      </c:radarChart>
      <c:catAx>
        <c:axId val="1384323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500" b="0" i="1" u="none" strike="noStrike" kern="1200" baseline="0">
                <a:solidFill>
                  <a:srgbClr val="00B05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84325744"/>
        <c:crosses val="autoZero"/>
        <c:auto val="1"/>
        <c:lblAlgn val="ctr"/>
        <c:lblOffset val="100"/>
        <c:noMultiLvlLbl val="0"/>
      </c:catAx>
      <c:valAx>
        <c:axId val="1384325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84323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78049572307008E-2"/>
          <c:y val="3.4531424736701039E-2"/>
          <c:w val="0.91484741352839427"/>
          <c:h val="0.692264314750951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ьюнок полевой</c:v>
                </c:pt>
              </c:strCache>
            </c:strRef>
          </c:tx>
          <c:spPr>
            <a:solidFill>
              <a:srgbClr val="98FF98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cat>
            <c:strRef>
              <c:f>Лист1!$A$2:$A$12</c:f>
              <c:strCache>
                <c:ptCount val="10"/>
                <c:pt idx="0">
                  <c:v>Мушкет Плюс (0,3) + трибенурон 750 (0,015)</c:v>
                </c:pt>
                <c:pt idx="1">
                  <c:v>Мушкет Плюс (0,4)</c:v>
                </c:pt>
                <c:pt idx="2">
                  <c:v>Мушкет Плюс (0,5)</c:v>
                </c:pt>
                <c:pt idx="3">
                  <c:v>Мушкет Плюс (0,7)</c:v>
                </c:pt>
                <c:pt idx="4">
                  <c:v>Секатор Турбо (0,05) + 2,4-Д эфир 600 (0,5) </c:v>
                </c:pt>
                <c:pt idx="5">
                  <c:v>2,4-Д эфир 300 + флорасулам 6,25 (0,6)</c:v>
                </c:pt>
                <c:pt idx="6">
                  <c:v>2,4-Д эфир 200 + флорасулам 3,7 (0,9)</c:v>
                </c:pt>
                <c:pt idx="7">
                  <c:v>2,4-Д эфир 410 + флорасулам 7,4 (0,5)</c:v>
                </c:pt>
                <c:pt idx="8">
                  <c:v>2,4-Д эфир 410 + флорасулам 15 (0,5)</c:v>
                </c:pt>
                <c:pt idx="9">
                  <c:v>Дикамба 480 (0,2) + трибенурон 750 (0,015)</c:v>
                </c:pt>
              </c:strCache>
            </c:strRef>
          </c:cat>
          <c:val>
            <c:numRef>
              <c:f>Лист1!$B$2:$B$12</c:f>
              <c:numCache>
                <c:formatCode>0</c:formatCode>
                <c:ptCount val="11"/>
                <c:pt idx="0">
                  <c:v>80</c:v>
                </c:pt>
                <c:pt idx="1">
                  <c:v>93</c:v>
                </c:pt>
                <c:pt idx="2">
                  <c:v>96</c:v>
                </c:pt>
                <c:pt idx="3">
                  <c:v>100</c:v>
                </c:pt>
                <c:pt idx="4" formatCode="General">
                  <c:v>95</c:v>
                </c:pt>
                <c:pt idx="5" formatCode="General">
                  <c:v>95</c:v>
                </c:pt>
                <c:pt idx="6" formatCode="General">
                  <c:v>85</c:v>
                </c:pt>
                <c:pt idx="7" formatCode="General">
                  <c:v>86</c:v>
                </c:pt>
                <c:pt idx="8" formatCode="General">
                  <c:v>87</c:v>
                </c:pt>
                <c:pt idx="9" formatCode="General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DF-4BE5-BAB1-0E3923C0CB8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Щирица запрокинутая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cat>
            <c:strRef>
              <c:f>Лист1!$A$2:$A$12</c:f>
              <c:strCache>
                <c:ptCount val="10"/>
                <c:pt idx="0">
                  <c:v>Мушкет Плюс (0,3) + трибенурон 750 (0,015)</c:v>
                </c:pt>
                <c:pt idx="1">
                  <c:v>Мушкет Плюс (0,4)</c:v>
                </c:pt>
                <c:pt idx="2">
                  <c:v>Мушкет Плюс (0,5)</c:v>
                </c:pt>
                <c:pt idx="3">
                  <c:v>Мушкет Плюс (0,7)</c:v>
                </c:pt>
                <c:pt idx="4">
                  <c:v>Секатор Турбо (0,05) + 2,4-Д эфир 600 (0,5) </c:v>
                </c:pt>
                <c:pt idx="5">
                  <c:v>2,4-Д эфир 300 + флорасулам 6,25 (0,6)</c:v>
                </c:pt>
                <c:pt idx="6">
                  <c:v>2,4-Д эфир 200 + флорасулам 3,7 (0,9)</c:v>
                </c:pt>
                <c:pt idx="7">
                  <c:v>2,4-Д эфир 410 + флорасулам 7,4 (0,5)</c:v>
                </c:pt>
                <c:pt idx="8">
                  <c:v>2,4-Д эфир 410 + флорасулам 15 (0,5)</c:v>
                </c:pt>
                <c:pt idx="9">
                  <c:v>Дикамба 480 (0,2) + трибенурон 750 (0,015)</c:v>
                </c:pt>
              </c:strCache>
            </c:strRef>
          </c:cat>
          <c:val>
            <c:numRef>
              <c:f>Лист1!$C$2:$C$12</c:f>
              <c:numCache>
                <c:formatCode>0</c:formatCode>
                <c:ptCount val="11"/>
                <c:pt idx="0">
                  <c:v>93</c:v>
                </c:pt>
                <c:pt idx="1">
                  <c:v>93</c:v>
                </c:pt>
                <c:pt idx="2">
                  <c:v>98</c:v>
                </c:pt>
                <c:pt idx="3">
                  <c:v>100</c:v>
                </c:pt>
                <c:pt idx="4" formatCode="General">
                  <c:v>98</c:v>
                </c:pt>
                <c:pt idx="5" formatCode="General">
                  <c:v>95</c:v>
                </c:pt>
                <c:pt idx="6" formatCode="General">
                  <c:v>84</c:v>
                </c:pt>
                <c:pt idx="7" formatCode="General">
                  <c:v>83</c:v>
                </c:pt>
                <c:pt idx="8" formatCode="General">
                  <c:v>92</c:v>
                </c:pt>
                <c:pt idx="9" formatCode="General">
                  <c:v>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DF-4BE5-BAB1-0E3923C0CB8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Горец вьюнковый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Лист1!$A$2:$A$12</c:f>
              <c:strCache>
                <c:ptCount val="10"/>
                <c:pt idx="0">
                  <c:v>Мушкет Плюс (0,3) + трибенурон 750 (0,015)</c:v>
                </c:pt>
                <c:pt idx="1">
                  <c:v>Мушкет Плюс (0,4)</c:v>
                </c:pt>
                <c:pt idx="2">
                  <c:v>Мушкет Плюс (0,5)</c:v>
                </c:pt>
                <c:pt idx="3">
                  <c:v>Мушкет Плюс (0,7)</c:v>
                </c:pt>
                <c:pt idx="4">
                  <c:v>Секатор Турбо (0,05) + 2,4-Д эфир 600 (0,5) </c:v>
                </c:pt>
                <c:pt idx="5">
                  <c:v>2,4-Д эфир 300 + флорасулам 6,25 (0,6)</c:v>
                </c:pt>
                <c:pt idx="6">
                  <c:v>2,4-Д эфир 200 + флорасулам 3,7 (0,9)</c:v>
                </c:pt>
                <c:pt idx="7">
                  <c:v>2,4-Д эфир 410 + флорасулам 7,4 (0,5)</c:v>
                </c:pt>
                <c:pt idx="8">
                  <c:v>2,4-Д эфир 410 + флорасулам 15 (0,5)</c:v>
                </c:pt>
                <c:pt idx="9">
                  <c:v>Дикамба 480 (0,2) + трибенурон 750 (0,015)</c:v>
                </c:pt>
              </c:strCache>
            </c:strRef>
          </c:cat>
          <c:val>
            <c:numRef>
              <c:f>Лист1!$D$2:$D$12</c:f>
              <c:numCache>
                <c:formatCode>0</c:formatCode>
                <c:ptCount val="11"/>
                <c:pt idx="0">
                  <c:v>88</c:v>
                </c:pt>
                <c:pt idx="1">
                  <c:v>84</c:v>
                </c:pt>
                <c:pt idx="2">
                  <c:v>92</c:v>
                </c:pt>
                <c:pt idx="3">
                  <c:v>96</c:v>
                </c:pt>
                <c:pt idx="4" formatCode="General">
                  <c:v>86</c:v>
                </c:pt>
                <c:pt idx="5" formatCode="General">
                  <c:v>86</c:v>
                </c:pt>
                <c:pt idx="6" formatCode="General">
                  <c:v>76</c:v>
                </c:pt>
                <c:pt idx="7" formatCode="General">
                  <c:v>73</c:v>
                </c:pt>
                <c:pt idx="8" formatCode="General">
                  <c:v>81</c:v>
                </c:pt>
                <c:pt idx="9" formatCode="General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3DF-4BE5-BAB1-0E3923C0CB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87654888"/>
        <c:axId val="387655216"/>
      </c:barChart>
      <c:catAx>
        <c:axId val="387654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7655216"/>
        <c:crosses val="autoZero"/>
        <c:auto val="1"/>
        <c:lblAlgn val="ctr"/>
        <c:lblOffset val="100"/>
        <c:noMultiLvlLbl val="0"/>
      </c:catAx>
      <c:valAx>
        <c:axId val="387655216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dirty="0"/>
                  <a:t>Эффективность, %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87654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b="0" i="0" baseline="0" dirty="0">
                <a:effectLst/>
              </a:rPr>
              <a:t>Испытания Мушкет Плюс в России</a:t>
            </a:r>
          </a:p>
          <a:p>
            <a:pPr>
              <a:defRPr sz="1400"/>
            </a:pPr>
            <a:r>
              <a:rPr lang="ru-RU" sz="1400" b="0" i="0" baseline="0" dirty="0">
                <a:effectLst/>
              </a:rPr>
              <a:t>(яровая пшеница)</a:t>
            </a:r>
            <a:endParaRPr lang="ru-RU" sz="14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5"/>
          <c:y val="0.16951399569533307"/>
          <c:w val="0.5"/>
          <c:h val="0.8047449730824728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Урожайность на контроле, ц/г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12</c:f>
              <c:strCache>
                <c:ptCount val="11"/>
                <c:pt idx="0">
                  <c:v>Дикамба 480 (0,2) + трибенурон 750 (0,015)</c:v>
                </c:pt>
                <c:pt idx="1">
                  <c:v>2,4-Д эфир 410 + флорасулам 15 (0,5)</c:v>
                </c:pt>
                <c:pt idx="2">
                  <c:v>2,4-Д эфир 410 + флорасулам 7,4 (0,5)</c:v>
                </c:pt>
                <c:pt idx="3">
                  <c:v>2,4-Д эфир 200 + флорасулам 3,7 (0,9)</c:v>
                </c:pt>
                <c:pt idx="4">
                  <c:v>2,4-Д эфир 300 + флорасулам 6,25 (0,6)</c:v>
                </c:pt>
                <c:pt idx="5">
                  <c:v>Секатор Турбо (0,05) + 2,4-Д эфир 600 (0,5) </c:v>
                </c:pt>
                <c:pt idx="6">
                  <c:v>Мушкет Плюс (0,7)</c:v>
                </c:pt>
                <c:pt idx="7">
                  <c:v>Мушкет Плюс (0,5)</c:v>
                </c:pt>
                <c:pt idx="8">
                  <c:v>Мушкет Плюс (0,4)</c:v>
                </c:pt>
                <c:pt idx="9">
                  <c:v>Мушкет Плюс (0,3) + трибенурон 750 (0,015)</c:v>
                </c:pt>
                <c:pt idx="10">
                  <c:v>Контроль</c:v>
                </c:pt>
              </c:strCache>
            </c:str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9.9</c:v>
                </c:pt>
                <c:pt idx="1">
                  <c:v>9.9</c:v>
                </c:pt>
                <c:pt idx="2">
                  <c:v>9.9</c:v>
                </c:pt>
                <c:pt idx="3">
                  <c:v>9.9</c:v>
                </c:pt>
                <c:pt idx="4">
                  <c:v>9.9</c:v>
                </c:pt>
                <c:pt idx="5">
                  <c:v>9.9</c:v>
                </c:pt>
                <c:pt idx="6">
                  <c:v>9.9</c:v>
                </c:pt>
                <c:pt idx="7">
                  <c:v>9.9</c:v>
                </c:pt>
                <c:pt idx="8">
                  <c:v>9.9</c:v>
                </c:pt>
                <c:pt idx="9">
                  <c:v>9.9</c:v>
                </c:pt>
                <c:pt idx="10">
                  <c:v>9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B0-4A32-9444-3154F683344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ибавка в урожайности, ц/г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12</c:f>
              <c:strCache>
                <c:ptCount val="11"/>
                <c:pt idx="0">
                  <c:v>Дикамба 480 (0,2) + трибенурон 750 (0,015)</c:v>
                </c:pt>
                <c:pt idx="1">
                  <c:v>2,4-Д эфир 410 + флорасулам 15 (0,5)</c:v>
                </c:pt>
                <c:pt idx="2">
                  <c:v>2,4-Д эфир 410 + флорасулам 7,4 (0,5)</c:v>
                </c:pt>
                <c:pt idx="3">
                  <c:v>2,4-Д эфир 200 + флорасулам 3,7 (0,9)</c:v>
                </c:pt>
                <c:pt idx="4">
                  <c:v>2,4-Д эфир 300 + флорасулам 6,25 (0,6)</c:v>
                </c:pt>
                <c:pt idx="5">
                  <c:v>Секатор Турбо (0,05) + 2,4-Д эфир 600 (0,5) </c:v>
                </c:pt>
                <c:pt idx="6">
                  <c:v>Мушкет Плюс (0,7)</c:v>
                </c:pt>
                <c:pt idx="7">
                  <c:v>Мушкет Плюс (0,5)</c:v>
                </c:pt>
                <c:pt idx="8">
                  <c:v>Мушкет Плюс (0,4)</c:v>
                </c:pt>
                <c:pt idx="9">
                  <c:v>Мушкет Плюс (0,3) + трибенурон 750 (0,015)</c:v>
                </c:pt>
                <c:pt idx="10">
                  <c:v>Контроль</c:v>
                </c:pt>
              </c:strCache>
            </c:strRef>
          </c:cat>
          <c:val>
            <c:numRef>
              <c:f>Лист1!$C$2:$C$12</c:f>
              <c:numCache>
                <c:formatCode>General</c:formatCode>
                <c:ptCount val="11"/>
                <c:pt idx="0">
                  <c:v>4.2</c:v>
                </c:pt>
                <c:pt idx="1">
                  <c:v>4.5</c:v>
                </c:pt>
                <c:pt idx="2" formatCode="0.0">
                  <c:v>4</c:v>
                </c:pt>
                <c:pt idx="3">
                  <c:v>4.7</c:v>
                </c:pt>
                <c:pt idx="4">
                  <c:v>5.3</c:v>
                </c:pt>
                <c:pt idx="5">
                  <c:v>6.3</c:v>
                </c:pt>
                <c:pt idx="6">
                  <c:v>6.3</c:v>
                </c:pt>
                <c:pt idx="7">
                  <c:v>6.1</c:v>
                </c:pt>
                <c:pt idx="8">
                  <c:v>5.9</c:v>
                </c:pt>
                <c:pt idx="9">
                  <c:v>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B0-4A32-9444-3154F683344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2535079"/>
        <c:axId val="2536063"/>
      </c:barChart>
      <c:catAx>
        <c:axId val="25350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536063"/>
        <c:crosses val="autoZero"/>
        <c:auto val="1"/>
        <c:lblAlgn val="ctr"/>
        <c:lblOffset val="100"/>
        <c:noMultiLvlLbl val="0"/>
      </c:catAx>
      <c:valAx>
        <c:axId val="253606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5350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svg"/><Relationship Id="rId1" Type="http://schemas.openxmlformats.org/officeDocument/2006/relationships/image" Target="../media/image28.png"/><Relationship Id="rId4" Type="http://schemas.openxmlformats.org/officeDocument/2006/relationships/image" Target="../media/image31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svg"/><Relationship Id="rId1" Type="http://schemas.openxmlformats.org/officeDocument/2006/relationships/image" Target="../media/image28.png"/><Relationship Id="rId4" Type="http://schemas.openxmlformats.org/officeDocument/2006/relationships/image" Target="../media/image3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83024F0-35D1-4C66-9B63-44F59109BE9D}" type="doc">
      <dgm:prSet loTypeId="urn:microsoft.com/office/officeart/2005/8/layout/hList2" loCatId="list" qsTypeId="urn:microsoft.com/office/officeart/2005/8/quickstyle/simple5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2B211451-B3E3-4EAF-80C2-4A49C553278B}">
      <dgm:prSet phldrT="[Текст]" custT="1"/>
      <dgm:spPr/>
      <dgm:t>
        <a:bodyPr/>
        <a:lstStyle/>
        <a:p>
          <a:r>
            <a:rPr lang="ru-RU" sz="2200" dirty="0">
              <a:solidFill>
                <a:schemeClr val="accent6">
                  <a:lumMod val="75000"/>
                </a:schemeClr>
              </a:solidFill>
              <a:latin typeface="Helvetica Neue Light"/>
            </a:rPr>
            <a:t>Малолетние двудольные</a:t>
          </a:r>
        </a:p>
      </dgm:t>
    </dgm:pt>
    <dgm:pt modelId="{32378D46-8BAC-4CF8-9FD3-C374E2F2228D}" type="parTrans" cxnId="{8A36CAB4-DC9D-4C7F-94B3-C7DF5E459A09}">
      <dgm:prSet/>
      <dgm:spPr/>
      <dgm:t>
        <a:bodyPr/>
        <a:lstStyle/>
        <a:p>
          <a:endParaRPr lang="ru-RU"/>
        </a:p>
      </dgm:t>
    </dgm:pt>
    <dgm:pt modelId="{30F157E8-1DE0-44F9-8195-A178A09D3E2C}" type="sibTrans" cxnId="{8A36CAB4-DC9D-4C7F-94B3-C7DF5E459A09}">
      <dgm:prSet/>
      <dgm:spPr/>
      <dgm:t>
        <a:bodyPr/>
        <a:lstStyle/>
        <a:p>
          <a:endParaRPr lang="ru-RU"/>
        </a:p>
      </dgm:t>
    </dgm:pt>
    <dgm:pt modelId="{960BFAB2-F0DE-41E6-8FBE-F638AB829A34}">
      <dgm:prSet phldrT="[Текст]" custT="1"/>
      <dgm:spPr>
        <a:gradFill rotWithShape="0">
          <a:gsLst>
            <a:gs pos="2000">
              <a:srgbClr val="99FF99"/>
            </a:gs>
            <a:gs pos="100000">
              <a:srgbClr val="69FF39"/>
            </a:gs>
          </a:gsLst>
          <a:lin ang="5400000" scaled="0"/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Амброзия полыннолистная </a:t>
          </a:r>
        </a:p>
      </dgm:t>
    </dgm:pt>
    <dgm:pt modelId="{B50AD10B-C399-41C3-99E6-C0480A564DCE}" type="parTrans" cxnId="{A824E99B-E3DD-4924-BD2D-9A0B9302D06F}">
      <dgm:prSet/>
      <dgm:spPr/>
      <dgm:t>
        <a:bodyPr/>
        <a:lstStyle/>
        <a:p>
          <a:endParaRPr lang="ru-RU"/>
        </a:p>
      </dgm:t>
    </dgm:pt>
    <dgm:pt modelId="{F8B6D7F0-476A-4CEF-9E8F-4CEC3F74C54D}" type="sibTrans" cxnId="{A824E99B-E3DD-4924-BD2D-9A0B9302D06F}">
      <dgm:prSet/>
      <dgm:spPr/>
      <dgm:t>
        <a:bodyPr/>
        <a:lstStyle/>
        <a:p>
          <a:endParaRPr lang="ru-RU"/>
        </a:p>
      </dgm:t>
    </dgm:pt>
    <dgm:pt modelId="{CF448247-03F3-4DE3-8C25-AAD424486697}">
      <dgm:prSet phldrT="[Текст]" custT="1"/>
      <dgm:spPr>
        <a:gradFill rotWithShape="0">
          <a:gsLst>
            <a:gs pos="0">
              <a:srgbClr val="97FF95"/>
            </a:gs>
            <a:gs pos="100000">
              <a:srgbClr val="66FF33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Коммелина, виды </a:t>
          </a:r>
        </a:p>
      </dgm:t>
    </dgm:pt>
    <dgm:pt modelId="{82DD33A0-7BBD-40A5-B870-2CB769B78922}" type="parTrans" cxnId="{189FA882-7399-4B6D-9259-5E606126814A}">
      <dgm:prSet/>
      <dgm:spPr/>
      <dgm:t>
        <a:bodyPr/>
        <a:lstStyle/>
        <a:p>
          <a:endParaRPr lang="ru-RU"/>
        </a:p>
      </dgm:t>
    </dgm:pt>
    <dgm:pt modelId="{A0373FBC-FB9F-499D-9A4D-6C7179D30C36}" type="sibTrans" cxnId="{189FA882-7399-4B6D-9259-5E606126814A}">
      <dgm:prSet/>
      <dgm:spPr/>
      <dgm:t>
        <a:bodyPr/>
        <a:lstStyle/>
        <a:p>
          <a:endParaRPr lang="ru-RU"/>
        </a:p>
      </dgm:t>
    </dgm:pt>
    <dgm:pt modelId="{F519FF83-F056-4111-812C-333482C1C761}">
      <dgm:prSet phldrT="[Текст]" custT="1"/>
      <dgm:spPr>
        <a:gradFill rotWithShape="0">
          <a:gsLst>
            <a:gs pos="0">
              <a:srgbClr val="97FF95"/>
            </a:gs>
            <a:gs pos="100000">
              <a:srgbClr val="66FF33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Конопля сорнополевая</a:t>
          </a:r>
        </a:p>
      </dgm:t>
    </dgm:pt>
    <dgm:pt modelId="{E3FD9A97-BE70-4E54-929A-56DF2794B18D}" type="parTrans" cxnId="{E774A562-FA29-40A5-B3CE-F84097DDE8CC}">
      <dgm:prSet/>
      <dgm:spPr/>
      <dgm:t>
        <a:bodyPr/>
        <a:lstStyle/>
        <a:p>
          <a:endParaRPr lang="ru-RU"/>
        </a:p>
      </dgm:t>
    </dgm:pt>
    <dgm:pt modelId="{728C3688-D618-4FA3-879E-EBABC06A1171}" type="sibTrans" cxnId="{E774A562-FA29-40A5-B3CE-F84097DDE8CC}">
      <dgm:prSet/>
      <dgm:spPr/>
      <dgm:t>
        <a:bodyPr/>
        <a:lstStyle/>
        <a:p>
          <a:endParaRPr lang="ru-RU"/>
        </a:p>
      </dgm:t>
    </dgm:pt>
    <dgm:pt modelId="{4AE30D9A-3BD7-42DA-8444-ED811AF14051}">
      <dgm:prSet phldrT="[Текст]"/>
      <dgm:spPr/>
      <dgm:t>
        <a:bodyPr/>
        <a:lstStyle/>
        <a:p>
          <a:r>
            <a:rPr lang="ru-RU" dirty="0"/>
            <a:t> </a:t>
          </a:r>
        </a:p>
      </dgm:t>
    </dgm:pt>
    <dgm:pt modelId="{D7364E44-FA46-4FEA-8C34-3D13E85B48E2}" type="parTrans" cxnId="{EE50E7C4-38A7-465F-9EF5-BE242D54B758}">
      <dgm:prSet/>
      <dgm:spPr/>
      <dgm:t>
        <a:bodyPr/>
        <a:lstStyle/>
        <a:p>
          <a:endParaRPr lang="ru-RU"/>
        </a:p>
      </dgm:t>
    </dgm:pt>
    <dgm:pt modelId="{A3F8CE55-5933-4638-B58E-AB5256CAF3DE}" type="sibTrans" cxnId="{EE50E7C4-38A7-465F-9EF5-BE242D54B758}">
      <dgm:prSet/>
      <dgm:spPr/>
      <dgm:t>
        <a:bodyPr/>
        <a:lstStyle/>
        <a:p>
          <a:endParaRPr lang="ru-RU"/>
        </a:p>
      </dgm:t>
    </dgm:pt>
    <dgm:pt modelId="{B6DECC0A-802E-4A0E-8C9F-4F767CD22AAC}">
      <dgm:prSet phldrT="[Текст]" custT="1"/>
      <dgm:spPr>
        <a:gradFill rotWithShape="0">
          <a:gsLst>
            <a:gs pos="0">
              <a:srgbClr val="98FF98"/>
            </a:gs>
            <a:gs pos="100000">
              <a:srgbClr val="6CFF40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Осот огородный </a:t>
          </a:r>
        </a:p>
      </dgm:t>
    </dgm:pt>
    <dgm:pt modelId="{6AFDD14D-E0FC-4444-A027-E6486E06D458}" type="parTrans" cxnId="{04B8C7BF-83FC-48BB-AD1F-FF508D1F1230}">
      <dgm:prSet/>
      <dgm:spPr/>
      <dgm:t>
        <a:bodyPr/>
        <a:lstStyle/>
        <a:p>
          <a:endParaRPr lang="ru-RU"/>
        </a:p>
      </dgm:t>
    </dgm:pt>
    <dgm:pt modelId="{3CBF3C9C-E60F-4152-BFE6-A93F129DB0E2}" type="sibTrans" cxnId="{04B8C7BF-83FC-48BB-AD1F-FF508D1F1230}">
      <dgm:prSet/>
      <dgm:spPr/>
      <dgm:t>
        <a:bodyPr/>
        <a:lstStyle/>
        <a:p>
          <a:endParaRPr lang="ru-RU"/>
        </a:p>
      </dgm:t>
    </dgm:pt>
    <dgm:pt modelId="{BFB54B05-E3C4-4F48-9329-F936F3F0D73E}">
      <dgm:prSet phldrT="[Текст]" custT="1"/>
      <dgm:spPr>
        <a:gradFill rotWithShape="0">
          <a:gsLst>
            <a:gs pos="2000">
              <a:srgbClr val="99FF99"/>
            </a:gs>
            <a:gs pos="100000">
              <a:srgbClr val="69FF39"/>
            </a:gs>
          </a:gsLst>
          <a:lin ang="5400000" scaled="0"/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Аистник цикутовый</a:t>
          </a:r>
        </a:p>
      </dgm:t>
    </dgm:pt>
    <dgm:pt modelId="{D74CAF91-1706-4E38-8934-7CF483D371A3}" type="parTrans" cxnId="{C9DABE4B-5CAA-49D8-A1FA-C8D5063D4DCA}">
      <dgm:prSet/>
      <dgm:spPr/>
      <dgm:t>
        <a:bodyPr/>
        <a:lstStyle/>
        <a:p>
          <a:endParaRPr lang="ru-RU"/>
        </a:p>
      </dgm:t>
    </dgm:pt>
    <dgm:pt modelId="{96CC3CD9-4770-443E-ACCB-7E76FFA1709C}" type="sibTrans" cxnId="{C9DABE4B-5CAA-49D8-A1FA-C8D5063D4DCA}">
      <dgm:prSet/>
      <dgm:spPr/>
      <dgm:t>
        <a:bodyPr/>
        <a:lstStyle/>
        <a:p>
          <a:endParaRPr lang="ru-RU"/>
        </a:p>
      </dgm:t>
    </dgm:pt>
    <dgm:pt modelId="{C51BF4DD-5422-413E-BD11-27C278C9E63A}">
      <dgm:prSet phldrT="[Текст]" custT="1"/>
      <dgm:spPr>
        <a:gradFill rotWithShape="0">
          <a:gsLst>
            <a:gs pos="2000">
              <a:srgbClr val="99FF99"/>
            </a:gs>
            <a:gs pos="100000">
              <a:srgbClr val="69FF39"/>
            </a:gs>
          </a:gsLst>
          <a:lin ang="5400000" scaled="0"/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Василек синий </a:t>
          </a:r>
        </a:p>
      </dgm:t>
    </dgm:pt>
    <dgm:pt modelId="{D564FE59-F8EC-4340-B609-89979BEE3150}" type="parTrans" cxnId="{E6B91D92-5A56-4285-829C-5652F919FA97}">
      <dgm:prSet/>
      <dgm:spPr/>
      <dgm:t>
        <a:bodyPr/>
        <a:lstStyle/>
        <a:p>
          <a:endParaRPr lang="ru-RU"/>
        </a:p>
      </dgm:t>
    </dgm:pt>
    <dgm:pt modelId="{F973FC0B-A506-4074-83B5-94AAB8BF0B7F}" type="sibTrans" cxnId="{E6B91D92-5A56-4285-829C-5652F919FA97}">
      <dgm:prSet/>
      <dgm:spPr/>
      <dgm:t>
        <a:bodyPr/>
        <a:lstStyle/>
        <a:p>
          <a:endParaRPr lang="ru-RU"/>
        </a:p>
      </dgm:t>
    </dgm:pt>
    <dgm:pt modelId="{1B1BA66C-29E9-4E57-8AFB-9F37CF90D21E}">
      <dgm:prSet phldrT="[Текст]" custT="1"/>
      <dgm:spPr>
        <a:gradFill rotWithShape="0">
          <a:gsLst>
            <a:gs pos="2000">
              <a:srgbClr val="99FF99"/>
            </a:gs>
            <a:gs pos="100000">
              <a:srgbClr val="69FF39"/>
            </a:gs>
          </a:gsLst>
          <a:lin ang="5400000" scaled="0"/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Галинсога мелкоцветковая </a:t>
          </a:r>
        </a:p>
      </dgm:t>
    </dgm:pt>
    <dgm:pt modelId="{15EEE30C-8553-429F-8EC2-37BA3EDEE4C4}" type="parTrans" cxnId="{8CCEEA30-03DB-4834-ACD2-83EFB522C28A}">
      <dgm:prSet/>
      <dgm:spPr/>
      <dgm:t>
        <a:bodyPr/>
        <a:lstStyle/>
        <a:p>
          <a:endParaRPr lang="ru-RU"/>
        </a:p>
      </dgm:t>
    </dgm:pt>
    <dgm:pt modelId="{8FEBB6AB-3CBA-414F-8438-3DFF35559DBF}" type="sibTrans" cxnId="{8CCEEA30-03DB-4834-ACD2-83EFB522C28A}">
      <dgm:prSet/>
      <dgm:spPr/>
      <dgm:t>
        <a:bodyPr/>
        <a:lstStyle/>
        <a:p>
          <a:endParaRPr lang="ru-RU"/>
        </a:p>
      </dgm:t>
    </dgm:pt>
    <dgm:pt modelId="{AF18F0B5-69BA-4E3F-BEDB-18D762FE18C8}">
      <dgm:prSet phldrT="[Текст]" custT="1"/>
      <dgm:spPr>
        <a:gradFill rotWithShape="0">
          <a:gsLst>
            <a:gs pos="2000">
              <a:srgbClr val="99FF99"/>
            </a:gs>
            <a:gs pos="100000">
              <a:srgbClr val="69FF39"/>
            </a:gs>
          </a:gsLst>
          <a:lin ang="5400000" scaled="0"/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Горцы, виды </a:t>
          </a:r>
        </a:p>
      </dgm:t>
    </dgm:pt>
    <dgm:pt modelId="{2482345D-2ECE-4CA0-9B21-34C10AB9FC93}" type="parTrans" cxnId="{BCB4C859-2494-45EB-AC62-109E18A75EE5}">
      <dgm:prSet/>
      <dgm:spPr/>
      <dgm:t>
        <a:bodyPr/>
        <a:lstStyle/>
        <a:p>
          <a:endParaRPr lang="ru-RU"/>
        </a:p>
      </dgm:t>
    </dgm:pt>
    <dgm:pt modelId="{B924AABC-9290-443A-88B3-269169C8C380}" type="sibTrans" cxnId="{BCB4C859-2494-45EB-AC62-109E18A75EE5}">
      <dgm:prSet/>
      <dgm:spPr/>
      <dgm:t>
        <a:bodyPr/>
        <a:lstStyle/>
        <a:p>
          <a:endParaRPr lang="ru-RU"/>
        </a:p>
      </dgm:t>
    </dgm:pt>
    <dgm:pt modelId="{AA96B85D-F6D2-4F76-A862-C063F0AAFF73}">
      <dgm:prSet phldrT="[Текст]" custT="1"/>
      <dgm:spPr>
        <a:gradFill rotWithShape="0">
          <a:gsLst>
            <a:gs pos="2000">
              <a:srgbClr val="99FF99"/>
            </a:gs>
            <a:gs pos="100000">
              <a:srgbClr val="69FF39"/>
            </a:gs>
          </a:gsLst>
          <a:lin ang="5400000" scaled="0"/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Горчица полевая </a:t>
          </a:r>
        </a:p>
      </dgm:t>
    </dgm:pt>
    <dgm:pt modelId="{6EA8B73F-8B7D-43EF-9B50-4B509D765177}" type="parTrans" cxnId="{162AB2C7-4446-4418-A8E9-9C3A5D0BB9B8}">
      <dgm:prSet/>
      <dgm:spPr/>
      <dgm:t>
        <a:bodyPr/>
        <a:lstStyle/>
        <a:p>
          <a:endParaRPr lang="ru-RU"/>
        </a:p>
      </dgm:t>
    </dgm:pt>
    <dgm:pt modelId="{64EF5E71-3C2A-464D-A832-606B244BB1DB}" type="sibTrans" cxnId="{162AB2C7-4446-4418-A8E9-9C3A5D0BB9B8}">
      <dgm:prSet/>
      <dgm:spPr/>
      <dgm:t>
        <a:bodyPr/>
        <a:lstStyle/>
        <a:p>
          <a:endParaRPr lang="ru-RU"/>
        </a:p>
      </dgm:t>
    </dgm:pt>
    <dgm:pt modelId="{202CCABC-E75C-4232-A28B-881D31DBB83F}">
      <dgm:prSet phldrT="[Текст]" custT="1"/>
      <dgm:spPr>
        <a:gradFill rotWithShape="0">
          <a:gsLst>
            <a:gs pos="2000">
              <a:srgbClr val="99FF99"/>
            </a:gs>
            <a:gs pos="100000">
              <a:srgbClr val="69FF39"/>
            </a:gs>
          </a:gsLst>
          <a:lin ang="5400000" scaled="0"/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Гречишка татарская </a:t>
          </a:r>
        </a:p>
      </dgm:t>
    </dgm:pt>
    <dgm:pt modelId="{B9110EFC-FB1E-4C57-98E5-72AB7ABE42A3}" type="parTrans" cxnId="{F8DFAD9A-502B-41FB-A192-BEB73E9F21B3}">
      <dgm:prSet/>
      <dgm:spPr/>
      <dgm:t>
        <a:bodyPr/>
        <a:lstStyle/>
        <a:p>
          <a:endParaRPr lang="ru-RU"/>
        </a:p>
      </dgm:t>
    </dgm:pt>
    <dgm:pt modelId="{BBFF2E58-3D5D-4E4E-A02A-E9FC0F002B7E}" type="sibTrans" cxnId="{F8DFAD9A-502B-41FB-A192-BEB73E9F21B3}">
      <dgm:prSet/>
      <dgm:spPr/>
      <dgm:t>
        <a:bodyPr/>
        <a:lstStyle/>
        <a:p>
          <a:endParaRPr lang="ru-RU"/>
        </a:p>
      </dgm:t>
    </dgm:pt>
    <dgm:pt modelId="{088B9EE9-EC82-4710-AF32-88AEA71DCFAE}">
      <dgm:prSet phldrT="[Текст]" custT="1"/>
      <dgm:spPr>
        <a:gradFill rotWithShape="0">
          <a:gsLst>
            <a:gs pos="2000">
              <a:srgbClr val="99FF99"/>
            </a:gs>
            <a:gs pos="100000">
              <a:srgbClr val="69FF39"/>
            </a:gs>
          </a:gsLst>
          <a:lin ang="5400000" scaled="0"/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Гулявник лекарственный </a:t>
          </a:r>
        </a:p>
      </dgm:t>
    </dgm:pt>
    <dgm:pt modelId="{19107D3A-93D2-4341-8560-2EF38EFE7988}" type="parTrans" cxnId="{FACB1F47-7F54-4880-B025-1504460D08AF}">
      <dgm:prSet/>
      <dgm:spPr/>
      <dgm:t>
        <a:bodyPr/>
        <a:lstStyle/>
        <a:p>
          <a:endParaRPr lang="ru-RU"/>
        </a:p>
      </dgm:t>
    </dgm:pt>
    <dgm:pt modelId="{5842EC31-2B45-4B6C-9BF9-086292450720}" type="sibTrans" cxnId="{FACB1F47-7F54-4880-B025-1504460D08AF}">
      <dgm:prSet/>
      <dgm:spPr/>
      <dgm:t>
        <a:bodyPr/>
        <a:lstStyle/>
        <a:p>
          <a:endParaRPr lang="ru-RU"/>
        </a:p>
      </dgm:t>
    </dgm:pt>
    <dgm:pt modelId="{E1659040-239A-45BA-AA7A-DD739F64671C}">
      <dgm:prSet phldrT="[Текст]" custT="1"/>
      <dgm:spPr>
        <a:gradFill rotWithShape="0">
          <a:gsLst>
            <a:gs pos="2000">
              <a:srgbClr val="99FF99"/>
            </a:gs>
            <a:gs pos="100000">
              <a:srgbClr val="69FF39"/>
            </a:gs>
          </a:gsLst>
          <a:lin ang="5400000" scaled="0"/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Дескурения Софии </a:t>
          </a:r>
        </a:p>
      </dgm:t>
    </dgm:pt>
    <dgm:pt modelId="{71E412C9-76B4-4205-B9D6-0EE3AACEEDB0}" type="parTrans" cxnId="{1BF3243F-691D-4D7E-B7F2-BDA5388AFBA5}">
      <dgm:prSet/>
      <dgm:spPr/>
      <dgm:t>
        <a:bodyPr/>
        <a:lstStyle/>
        <a:p>
          <a:endParaRPr lang="ru-RU"/>
        </a:p>
      </dgm:t>
    </dgm:pt>
    <dgm:pt modelId="{3DC439D1-2311-4C55-957B-1A522AB98137}" type="sibTrans" cxnId="{1BF3243F-691D-4D7E-B7F2-BDA5388AFBA5}">
      <dgm:prSet/>
      <dgm:spPr/>
      <dgm:t>
        <a:bodyPr/>
        <a:lstStyle/>
        <a:p>
          <a:endParaRPr lang="ru-RU"/>
        </a:p>
      </dgm:t>
    </dgm:pt>
    <dgm:pt modelId="{276BCB9A-CEBE-42F3-8295-4BE97D0299A2}">
      <dgm:prSet phldrT="[Текст]" custT="1"/>
      <dgm:spPr>
        <a:gradFill rotWithShape="0">
          <a:gsLst>
            <a:gs pos="2000">
              <a:srgbClr val="99FF99"/>
            </a:gs>
            <a:gs pos="100000">
              <a:srgbClr val="69FF39"/>
            </a:gs>
          </a:gsLst>
          <a:lin ang="5400000" scaled="0"/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Дурнишник обыкновенный </a:t>
          </a:r>
        </a:p>
      </dgm:t>
    </dgm:pt>
    <dgm:pt modelId="{17721C8F-3F85-4056-AE7A-A0BCCD50A221}" type="parTrans" cxnId="{85521570-21C8-435F-BB03-375FEF26E0AD}">
      <dgm:prSet/>
      <dgm:spPr/>
      <dgm:t>
        <a:bodyPr/>
        <a:lstStyle/>
        <a:p>
          <a:endParaRPr lang="ru-RU"/>
        </a:p>
      </dgm:t>
    </dgm:pt>
    <dgm:pt modelId="{73CCAC70-795F-4229-9684-B1BC6727C29F}" type="sibTrans" cxnId="{85521570-21C8-435F-BB03-375FEF26E0AD}">
      <dgm:prSet/>
      <dgm:spPr/>
      <dgm:t>
        <a:bodyPr/>
        <a:lstStyle/>
        <a:p>
          <a:endParaRPr lang="ru-RU"/>
        </a:p>
      </dgm:t>
    </dgm:pt>
    <dgm:pt modelId="{AFC7FD9E-06C1-4ADE-9E12-23331BB1CDB1}">
      <dgm:prSet phldrT="[Текст]" custT="1"/>
      <dgm:spPr>
        <a:gradFill rotWithShape="0">
          <a:gsLst>
            <a:gs pos="2000">
              <a:srgbClr val="99FF99"/>
            </a:gs>
            <a:gs pos="100000">
              <a:srgbClr val="69FF39"/>
            </a:gs>
          </a:gsLst>
          <a:lin ang="5400000" scaled="0"/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Звездчатка средняя </a:t>
          </a:r>
        </a:p>
      </dgm:t>
    </dgm:pt>
    <dgm:pt modelId="{2AFF6A52-FDF6-4303-B65B-9FEF57913AE0}" type="parTrans" cxnId="{BE397861-AEC1-4562-AF75-3468EF51DF16}">
      <dgm:prSet/>
      <dgm:spPr/>
      <dgm:t>
        <a:bodyPr/>
        <a:lstStyle/>
        <a:p>
          <a:endParaRPr lang="ru-RU"/>
        </a:p>
      </dgm:t>
    </dgm:pt>
    <dgm:pt modelId="{1359B8C2-480F-4B19-8113-8D6EC82F8CCA}" type="sibTrans" cxnId="{BE397861-AEC1-4562-AF75-3468EF51DF16}">
      <dgm:prSet/>
      <dgm:spPr/>
      <dgm:t>
        <a:bodyPr/>
        <a:lstStyle/>
        <a:p>
          <a:endParaRPr lang="ru-RU"/>
        </a:p>
      </dgm:t>
    </dgm:pt>
    <dgm:pt modelId="{EE5323E5-B686-4DC8-8488-CF57AB454ACE}">
      <dgm:prSet phldrT="[Текст]" custT="1"/>
      <dgm:spPr>
        <a:gradFill rotWithShape="0">
          <a:gsLst>
            <a:gs pos="2000">
              <a:srgbClr val="99FF99"/>
            </a:gs>
            <a:gs pos="100000">
              <a:srgbClr val="69FF39"/>
            </a:gs>
          </a:gsLst>
          <a:lin ang="5400000" scaled="0"/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Канатник Теофраста </a:t>
          </a:r>
        </a:p>
      </dgm:t>
    </dgm:pt>
    <dgm:pt modelId="{AD223197-816A-4052-9F1D-1E05E8351BBA}" type="parTrans" cxnId="{0C1A563B-93D1-4250-9D83-CED8950AB3C9}">
      <dgm:prSet/>
      <dgm:spPr/>
      <dgm:t>
        <a:bodyPr/>
        <a:lstStyle/>
        <a:p>
          <a:endParaRPr lang="ru-RU"/>
        </a:p>
      </dgm:t>
    </dgm:pt>
    <dgm:pt modelId="{8AF5E1C3-2851-499E-A9F9-E66FB32051A3}" type="sibTrans" cxnId="{0C1A563B-93D1-4250-9D83-CED8950AB3C9}">
      <dgm:prSet/>
      <dgm:spPr/>
      <dgm:t>
        <a:bodyPr/>
        <a:lstStyle/>
        <a:p>
          <a:endParaRPr lang="ru-RU"/>
        </a:p>
      </dgm:t>
    </dgm:pt>
    <dgm:pt modelId="{C818C8E4-369D-44DD-B810-1777D272DC76}">
      <dgm:prSet phldrT="[Текст]" custT="1"/>
      <dgm:spPr>
        <a:gradFill rotWithShape="0">
          <a:gsLst>
            <a:gs pos="2000">
              <a:srgbClr val="99FF99"/>
            </a:gs>
            <a:gs pos="100000">
              <a:srgbClr val="69FF39"/>
            </a:gs>
          </a:gsLst>
          <a:lin ang="5400000" scaled="0"/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Клоповник, виды </a:t>
          </a:r>
        </a:p>
      </dgm:t>
    </dgm:pt>
    <dgm:pt modelId="{BD04916C-06FA-4C12-BA2C-9C3431D4724B}" type="parTrans" cxnId="{E9A03E3C-985B-48A5-B698-E0F23A8031E1}">
      <dgm:prSet/>
      <dgm:spPr/>
      <dgm:t>
        <a:bodyPr/>
        <a:lstStyle/>
        <a:p>
          <a:endParaRPr lang="ru-RU"/>
        </a:p>
      </dgm:t>
    </dgm:pt>
    <dgm:pt modelId="{4B2CF600-8CC1-4473-A147-16438FCBBC93}" type="sibTrans" cxnId="{E9A03E3C-985B-48A5-B698-E0F23A8031E1}">
      <dgm:prSet/>
      <dgm:spPr/>
      <dgm:t>
        <a:bodyPr/>
        <a:lstStyle/>
        <a:p>
          <a:endParaRPr lang="ru-RU"/>
        </a:p>
      </dgm:t>
    </dgm:pt>
    <dgm:pt modelId="{466090D7-869D-40D6-987D-243C8D8FB8BD}">
      <dgm:prSet phldrT="[Текст]" custT="1"/>
      <dgm:spPr>
        <a:gradFill rotWithShape="0">
          <a:gsLst>
            <a:gs pos="0">
              <a:srgbClr val="97FF95"/>
            </a:gs>
            <a:gs pos="100000">
              <a:srgbClr val="66FF33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Короставник полевой </a:t>
          </a:r>
        </a:p>
      </dgm:t>
    </dgm:pt>
    <dgm:pt modelId="{524C9D71-5C31-44A9-8E3F-AB4013C10A2C}" type="parTrans" cxnId="{1CEE532E-8A50-4542-B9F3-1ED251810782}">
      <dgm:prSet/>
      <dgm:spPr/>
      <dgm:t>
        <a:bodyPr/>
        <a:lstStyle/>
        <a:p>
          <a:endParaRPr lang="ru-RU"/>
        </a:p>
      </dgm:t>
    </dgm:pt>
    <dgm:pt modelId="{B49285A4-CE1F-4F4E-BB9B-BEE272590A5F}" type="sibTrans" cxnId="{1CEE532E-8A50-4542-B9F3-1ED251810782}">
      <dgm:prSet/>
      <dgm:spPr/>
      <dgm:t>
        <a:bodyPr/>
        <a:lstStyle/>
        <a:p>
          <a:endParaRPr lang="ru-RU"/>
        </a:p>
      </dgm:t>
    </dgm:pt>
    <dgm:pt modelId="{D8EC31FB-B462-4A0F-B491-8E619AC59202}">
      <dgm:prSet phldrT="[Текст]" custT="1"/>
      <dgm:spPr>
        <a:gradFill rotWithShape="0">
          <a:gsLst>
            <a:gs pos="0">
              <a:srgbClr val="97FF95"/>
            </a:gs>
            <a:gs pos="100000">
              <a:srgbClr val="66FF33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Крапива, виды </a:t>
          </a:r>
        </a:p>
      </dgm:t>
    </dgm:pt>
    <dgm:pt modelId="{C3900389-09E5-4FA4-A073-6B57FD6B3D64}" type="parTrans" cxnId="{99D77A12-C53D-4CFA-8889-50913A5BE92B}">
      <dgm:prSet/>
      <dgm:spPr/>
      <dgm:t>
        <a:bodyPr/>
        <a:lstStyle/>
        <a:p>
          <a:endParaRPr lang="ru-RU"/>
        </a:p>
      </dgm:t>
    </dgm:pt>
    <dgm:pt modelId="{D1DCC86E-D467-4A10-BE11-083253710E66}" type="sibTrans" cxnId="{99D77A12-C53D-4CFA-8889-50913A5BE92B}">
      <dgm:prSet/>
      <dgm:spPr/>
      <dgm:t>
        <a:bodyPr/>
        <a:lstStyle/>
        <a:p>
          <a:endParaRPr lang="ru-RU"/>
        </a:p>
      </dgm:t>
    </dgm:pt>
    <dgm:pt modelId="{7BB30931-CBBB-48F5-9EEA-C7AC560FAAB4}">
      <dgm:prSet phldrT="[Текст]" custT="1"/>
      <dgm:spPr>
        <a:gradFill rotWithShape="0">
          <a:gsLst>
            <a:gs pos="0">
              <a:srgbClr val="97FF95"/>
            </a:gs>
            <a:gs pos="100000">
              <a:srgbClr val="66FF33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Курай — солянка русская </a:t>
          </a:r>
        </a:p>
      </dgm:t>
    </dgm:pt>
    <dgm:pt modelId="{B587EA72-D323-434E-BDAC-0328D906491F}" type="parTrans" cxnId="{E13EDE5B-1A0C-4293-8C60-6C0B742321E6}">
      <dgm:prSet/>
      <dgm:spPr/>
      <dgm:t>
        <a:bodyPr/>
        <a:lstStyle/>
        <a:p>
          <a:endParaRPr lang="ru-RU"/>
        </a:p>
      </dgm:t>
    </dgm:pt>
    <dgm:pt modelId="{199153C2-B556-409C-991E-15D13AEF340E}" type="sibTrans" cxnId="{E13EDE5B-1A0C-4293-8C60-6C0B742321E6}">
      <dgm:prSet/>
      <dgm:spPr/>
      <dgm:t>
        <a:bodyPr/>
        <a:lstStyle/>
        <a:p>
          <a:endParaRPr lang="ru-RU"/>
        </a:p>
      </dgm:t>
    </dgm:pt>
    <dgm:pt modelId="{FC61DD51-2994-46A2-A846-C1EB7338803D}">
      <dgm:prSet phldrT="[Текст]" custT="1"/>
      <dgm:spPr>
        <a:gradFill rotWithShape="0">
          <a:gsLst>
            <a:gs pos="0">
              <a:srgbClr val="97FF95"/>
            </a:gs>
            <a:gs pos="100000">
              <a:srgbClr val="66FF33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Лапчатка, виды </a:t>
          </a:r>
        </a:p>
      </dgm:t>
    </dgm:pt>
    <dgm:pt modelId="{7B567464-7367-4A59-8D0F-132CA3AC0140}" type="parTrans" cxnId="{7D7AB20E-5DC3-4F12-A68C-E62F5B67DAD2}">
      <dgm:prSet/>
      <dgm:spPr/>
      <dgm:t>
        <a:bodyPr/>
        <a:lstStyle/>
        <a:p>
          <a:endParaRPr lang="ru-RU"/>
        </a:p>
      </dgm:t>
    </dgm:pt>
    <dgm:pt modelId="{47B98DCE-D92A-4C0F-89D6-2ADFA22BBA69}" type="sibTrans" cxnId="{7D7AB20E-5DC3-4F12-A68C-E62F5B67DAD2}">
      <dgm:prSet/>
      <dgm:spPr/>
      <dgm:t>
        <a:bodyPr/>
        <a:lstStyle/>
        <a:p>
          <a:endParaRPr lang="ru-RU"/>
        </a:p>
      </dgm:t>
    </dgm:pt>
    <dgm:pt modelId="{C348F196-DD62-4CDC-B3C6-7DAAF206EC5D}">
      <dgm:prSet phldrT="[Текст]" custT="1"/>
      <dgm:spPr>
        <a:gradFill rotWithShape="0">
          <a:gsLst>
            <a:gs pos="0">
              <a:srgbClr val="97FF95"/>
            </a:gs>
            <a:gs pos="100000">
              <a:srgbClr val="66FF33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Лебеда, виды</a:t>
          </a:r>
        </a:p>
      </dgm:t>
    </dgm:pt>
    <dgm:pt modelId="{02BC9058-1389-440D-BED2-DA989C3D69D6}" type="parTrans" cxnId="{02C61907-5DBB-4F64-954D-834FC4BB5947}">
      <dgm:prSet/>
      <dgm:spPr/>
      <dgm:t>
        <a:bodyPr/>
        <a:lstStyle/>
        <a:p>
          <a:endParaRPr lang="ru-RU"/>
        </a:p>
      </dgm:t>
    </dgm:pt>
    <dgm:pt modelId="{0C916CDB-0B2B-4F30-86B8-E0877334385D}" type="sibTrans" cxnId="{02C61907-5DBB-4F64-954D-834FC4BB5947}">
      <dgm:prSet/>
      <dgm:spPr/>
      <dgm:t>
        <a:bodyPr/>
        <a:lstStyle/>
        <a:p>
          <a:endParaRPr lang="ru-RU"/>
        </a:p>
      </dgm:t>
    </dgm:pt>
    <dgm:pt modelId="{BED54F47-5825-4093-96C6-5A258F3FDA1C}">
      <dgm:prSet phldrT="[Текст]" custT="1"/>
      <dgm:spPr>
        <a:gradFill rotWithShape="0">
          <a:gsLst>
            <a:gs pos="0">
              <a:srgbClr val="97FF95"/>
            </a:gs>
            <a:gs pos="100000">
              <a:srgbClr val="66FF33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Липучка, виды </a:t>
          </a:r>
        </a:p>
      </dgm:t>
    </dgm:pt>
    <dgm:pt modelId="{1137419A-7412-445C-8DF9-DEF34FB2BFC6}" type="parTrans" cxnId="{CB3DBF7E-3240-443B-81BE-365FB467D84E}">
      <dgm:prSet/>
      <dgm:spPr/>
      <dgm:t>
        <a:bodyPr/>
        <a:lstStyle/>
        <a:p>
          <a:endParaRPr lang="ru-RU"/>
        </a:p>
      </dgm:t>
    </dgm:pt>
    <dgm:pt modelId="{E32A147C-5609-4A8E-A5B5-FCFCA90F4D33}" type="sibTrans" cxnId="{CB3DBF7E-3240-443B-81BE-365FB467D84E}">
      <dgm:prSet/>
      <dgm:spPr/>
      <dgm:t>
        <a:bodyPr/>
        <a:lstStyle/>
        <a:p>
          <a:endParaRPr lang="ru-RU"/>
        </a:p>
      </dgm:t>
    </dgm:pt>
    <dgm:pt modelId="{DF5FCF7F-F278-4F55-9F2B-1A141B10C0B1}">
      <dgm:prSet phldrT="[Текст]" custT="1"/>
      <dgm:spPr>
        <a:gradFill rotWithShape="0">
          <a:gsLst>
            <a:gs pos="0">
              <a:srgbClr val="97FF95"/>
            </a:gs>
            <a:gs pos="100000">
              <a:srgbClr val="66FF33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Лопух, виды </a:t>
          </a:r>
        </a:p>
      </dgm:t>
    </dgm:pt>
    <dgm:pt modelId="{B3FC7120-B1D9-4198-8A22-6141ACB75AD8}" type="parTrans" cxnId="{BF4650BB-EAFB-4F74-9373-ACE66DA8D60A}">
      <dgm:prSet/>
      <dgm:spPr/>
      <dgm:t>
        <a:bodyPr/>
        <a:lstStyle/>
        <a:p>
          <a:endParaRPr lang="ru-RU"/>
        </a:p>
      </dgm:t>
    </dgm:pt>
    <dgm:pt modelId="{1BDDBB9D-9482-48FB-B5F5-B8A93F559157}" type="sibTrans" cxnId="{BF4650BB-EAFB-4F74-9373-ACE66DA8D60A}">
      <dgm:prSet/>
      <dgm:spPr/>
      <dgm:t>
        <a:bodyPr/>
        <a:lstStyle/>
        <a:p>
          <a:endParaRPr lang="ru-RU"/>
        </a:p>
      </dgm:t>
    </dgm:pt>
    <dgm:pt modelId="{D36E0033-D8C7-44A8-8AC8-960686ED6B21}">
      <dgm:prSet phldrT="[Текст]" custT="1"/>
      <dgm:spPr>
        <a:gradFill rotWithShape="0">
          <a:gsLst>
            <a:gs pos="0">
              <a:srgbClr val="97FF95"/>
            </a:gs>
            <a:gs pos="100000">
              <a:srgbClr val="66FF33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Лютик, виды </a:t>
          </a:r>
        </a:p>
      </dgm:t>
    </dgm:pt>
    <dgm:pt modelId="{39B25CBF-3E90-4D5C-A786-02A56D035E7F}" type="parTrans" cxnId="{F70E1789-8CE7-40F9-9C87-CD2D25548FEB}">
      <dgm:prSet/>
      <dgm:spPr/>
      <dgm:t>
        <a:bodyPr/>
        <a:lstStyle/>
        <a:p>
          <a:endParaRPr lang="ru-RU"/>
        </a:p>
      </dgm:t>
    </dgm:pt>
    <dgm:pt modelId="{3A0EEDE7-61F5-4830-80C1-F45E71B60FE1}" type="sibTrans" cxnId="{F70E1789-8CE7-40F9-9C87-CD2D25548FEB}">
      <dgm:prSet/>
      <dgm:spPr/>
      <dgm:t>
        <a:bodyPr/>
        <a:lstStyle/>
        <a:p>
          <a:endParaRPr lang="ru-RU"/>
        </a:p>
      </dgm:t>
    </dgm:pt>
    <dgm:pt modelId="{CEA842CB-27FC-47A9-B7BC-726D3FEE8D9F}">
      <dgm:prSet phldrT="[Текст]" custT="1"/>
      <dgm:spPr>
        <a:gradFill rotWithShape="0">
          <a:gsLst>
            <a:gs pos="0">
              <a:srgbClr val="97FF95"/>
            </a:gs>
            <a:gs pos="100000">
              <a:srgbClr val="66FF33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Мак самосейка </a:t>
          </a:r>
        </a:p>
      </dgm:t>
    </dgm:pt>
    <dgm:pt modelId="{11ABD6C7-D6AC-4E24-B5B9-417A40385CAB}" type="parTrans" cxnId="{4C8306B2-8413-4E44-9C99-1AA6CCCCD6E9}">
      <dgm:prSet/>
      <dgm:spPr/>
      <dgm:t>
        <a:bodyPr/>
        <a:lstStyle/>
        <a:p>
          <a:endParaRPr lang="ru-RU"/>
        </a:p>
      </dgm:t>
    </dgm:pt>
    <dgm:pt modelId="{A507C27A-20F0-43A3-9FB1-6A89276DC5DE}" type="sibTrans" cxnId="{4C8306B2-8413-4E44-9C99-1AA6CCCCD6E9}">
      <dgm:prSet/>
      <dgm:spPr/>
      <dgm:t>
        <a:bodyPr/>
        <a:lstStyle/>
        <a:p>
          <a:endParaRPr lang="ru-RU"/>
        </a:p>
      </dgm:t>
    </dgm:pt>
    <dgm:pt modelId="{C06E402E-50AF-45EF-A33B-3C8F98302DB7}">
      <dgm:prSet phldrT="[Текст]" custT="1"/>
      <dgm:spPr>
        <a:gradFill rotWithShape="0">
          <a:gsLst>
            <a:gs pos="0">
              <a:srgbClr val="97FF95"/>
            </a:gs>
            <a:gs pos="100000">
              <a:srgbClr val="66FF33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Марь белая</a:t>
          </a:r>
        </a:p>
      </dgm:t>
    </dgm:pt>
    <dgm:pt modelId="{383E987D-1C84-4160-9AAA-861B8D5AF7AC}" type="parTrans" cxnId="{5AF9875D-AA12-4AA8-8E5E-2818B942A1EC}">
      <dgm:prSet/>
      <dgm:spPr/>
      <dgm:t>
        <a:bodyPr/>
        <a:lstStyle/>
        <a:p>
          <a:endParaRPr lang="ru-RU"/>
        </a:p>
      </dgm:t>
    </dgm:pt>
    <dgm:pt modelId="{AC30964C-E117-4A82-AD40-8569C0D3B0A5}" type="sibTrans" cxnId="{5AF9875D-AA12-4AA8-8E5E-2818B942A1EC}">
      <dgm:prSet/>
      <dgm:spPr/>
      <dgm:t>
        <a:bodyPr/>
        <a:lstStyle/>
        <a:p>
          <a:endParaRPr lang="ru-RU"/>
        </a:p>
      </dgm:t>
    </dgm:pt>
    <dgm:pt modelId="{C56A219C-ACDF-40A0-8F58-750A6C7F8DCC}">
      <dgm:prSet phldrT="[Текст]" custT="1"/>
      <dgm:spPr>
        <a:gradFill rotWithShape="0">
          <a:gsLst>
            <a:gs pos="0">
              <a:srgbClr val="97FF95"/>
            </a:gs>
            <a:gs pos="100000">
              <a:srgbClr val="66FF33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Мелколепестник канадский </a:t>
          </a:r>
        </a:p>
      </dgm:t>
    </dgm:pt>
    <dgm:pt modelId="{E6787251-A239-471F-860A-4B8AC27870F1}" type="parTrans" cxnId="{87A0C3E8-A643-4DDB-955E-5FEB15152A3E}">
      <dgm:prSet/>
      <dgm:spPr/>
      <dgm:t>
        <a:bodyPr/>
        <a:lstStyle/>
        <a:p>
          <a:endParaRPr lang="ru-RU"/>
        </a:p>
      </dgm:t>
    </dgm:pt>
    <dgm:pt modelId="{5CE494FB-8CFC-44A6-BDBF-2FD34F76D279}" type="sibTrans" cxnId="{87A0C3E8-A643-4DDB-955E-5FEB15152A3E}">
      <dgm:prSet/>
      <dgm:spPr/>
      <dgm:t>
        <a:bodyPr/>
        <a:lstStyle/>
        <a:p>
          <a:endParaRPr lang="ru-RU"/>
        </a:p>
      </dgm:t>
    </dgm:pt>
    <dgm:pt modelId="{9CD19027-A9D9-4E92-9E74-9E3281BC0A59}">
      <dgm:prSet phldrT="[Текст]" custT="1"/>
      <dgm:spPr>
        <a:gradFill rotWithShape="0">
          <a:gsLst>
            <a:gs pos="0">
              <a:srgbClr val="97FF95"/>
            </a:gs>
            <a:gs pos="100000">
              <a:srgbClr val="66FF33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Незабудка полевая </a:t>
          </a:r>
        </a:p>
      </dgm:t>
    </dgm:pt>
    <dgm:pt modelId="{F7B7402E-558B-46CD-A812-CB7DEA3EB0A8}" type="parTrans" cxnId="{6EF8BA78-D23A-42D3-AFA1-DADE2863B51E}">
      <dgm:prSet/>
      <dgm:spPr/>
      <dgm:t>
        <a:bodyPr/>
        <a:lstStyle/>
        <a:p>
          <a:endParaRPr lang="ru-RU"/>
        </a:p>
      </dgm:t>
    </dgm:pt>
    <dgm:pt modelId="{429DF58D-BAB0-4E15-A564-EFEEE2CA71A2}" type="sibTrans" cxnId="{6EF8BA78-D23A-42D3-AFA1-DADE2863B51E}">
      <dgm:prSet/>
      <dgm:spPr/>
      <dgm:t>
        <a:bodyPr/>
        <a:lstStyle/>
        <a:p>
          <a:endParaRPr lang="ru-RU"/>
        </a:p>
      </dgm:t>
    </dgm:pt>
    <dgm:pt modelId="{2E036E73-E2F8-4188-A6B8-A2E8D75FA1C9}">
      <dgm:prSet phldrT="[Текст]" custT="1"/>
      <dgm:spPr>
        <a:gradFill rotWithShape="0">
          <a:gsLst>
            <a:gs pos="2000">
              <a:srgbClr val="99FF99"/>
            </a:gs>
            <a:gs pos="100000">
              <a:srgbClr val="69FF39"/>
            </a:gs>
          </a:gsLst>
          <a:lin ang="5400000" scaled="0"/>
        </a:gradFill>
      </dgm:spPr>
      <dgm:t>
        <a:bodyPr/>
        <a:lstStyle/>
        <a:p>
          <a:endParaRPr lang="ru-RU" sz="15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056E99EE-1D74-44B6-8438-19FAB1D91249}" type="parTrans" cxnId="{EA2FD103-A5E7-4001-8FAD-4CCBA8FDF445}">
      <dgm:prSet/>
      <dgm:spPr/>
      <dgm:t>
        <a:bodyPr/>
        <a:lstStyle/>
        <a:p>
          <a:endParaRPr lang="ru-RU"/>
        </a:p>
      </dgm:t>
    </dgm:pt>
    <dgm:pt modelId="{B136783A-FAA6-4BEF-BF7B-BFE8551C27D9}" type="sibTrans" cxnId="{EA2FD103-A5E7-4001-8FAD-4CCBA8FDF445}">
      <dgm:prSet/>
      <dgm:spPr/>
      <dgm:t>
        <a:bodyPr/>
        <a:lstStyle/>
        <a:p>
          <a:endParaRPr lang="ru-RU"/>
        </a:p>
      </dgm:t>
    </dgm:pt>
    <dgm:pt modelId="{639607A9-95FD-4721-97AA-55BFFB4F94E2}">
      <dgm:prSet custT="1"/>
      <dgm:spPr>
        <a:noFill/>
        <a:ln>
          <a:noFill/>
        </a:ln>
        <a:effectLst/>
      </dgm:spPr>
      <dgm:t>
        <a:bodyPr spcFirstLastPara="0" vert="horz" wrap="square" lIns="0" tIns="0" rIns="184853" bIns="0" numCol="1" spcCol="1270" anchor="t" anchorCtr="0"/>
        <a:lstStyle/>
        <a:p>
          <a:r>
            <a:rPr lang="ru-RU" sz="2200" kern="1200" dirty="0">
              <a:solidFill>
                <a:srgbClr val="0070C0"/>
              </a:solidFill>
              <a:latin typeface="Helvetica Neue Light"/>
              <a:ea typeface="+mn-ea"/>
              <a:cs typeface="+mn-cs"/>
            </a:rPr>
            <a:t>Многолетние</a:t>
          </a:r>
          <a:r>
            <a:rPr lang="ru-RU" sz="2200" kern="1200" dirty="0">
              <a:solidFill>
                <a:srgbClr val="0070C0"/>
              </a:solidFill>
              <a:latin typeface="Helvetica Neue Light"/>
            </a:rPr>
            <a:t> </a:t>
          </a:r>
          <a:r>
            <a:rPr lang="ru-RU" sz="2200" kern="1200" dirty="0">
              <a:solidFill>
                <a:srgbClr val="0070C0"/>
              </a:solidFill>
              <a:latin typeface="Helvetica Neue Light"/>
              <a:ea typeface="+mn-ea"/>
              <a:cs typeface="+mn-cs"/>
            </a:rPr>
            <a:t>двудольные</a:t>
          </a:r>
        </a:p>
      </dgm:t>
    </dgm:pt>
    <dgm:pt modelId="{50CC8AF6-4B91-4D33-9DD6-FAB195B20FE8}" type="parTrans" cxnId="{318A5BA1-44C0-4BDB-B989-69AFDB48C315}">
      <dgm:prSet/>
      <dgm:spPr/>
      <dgm:t>
        <a:bodyPr/>
        <a:lstStyle/>
        <a:p>
          <a:endParaRPr lang="ru-RU"/>
        </a:p>
      </dgm:t>
    </dgm:pt>
    <dgm:pt modelId="{D6762221-604E-4065-9A99-22315F8ADB14}" type="sibTrans" cxnId="{318A5BA1-44C0-4BDB-B989-69AFDB48C315}">
      <dgm:prSet/>
      <dgm:spPr/>
      <dgm:t>
        <a:bodyPr/>
        <a:lstStyle/>
        <a:p>
          <a:endParaRPr lang="ru-RU"/>
        </a:p>
      </dgm:t>
    </dgm:pt>
    <dgm:pt modelId="{3CD21E66-9F8E-404A-98AB-2D362D16AE5F}">
      <dgm:prSet phldrT="[Текст]"/>
      <dgm:spPr/>
      <dgm:t>
        <a:bodyPr/>
        <a:lstStyle/>
        <a:p>
          <a:r>
            <a:rPr lang="ru-RU" dirty="0"/>
            <a:t> </a:t>
          </a:r>
        </a:p>
      </dgm:t>
    </dgm:pt>
    <dgm:pt modelId="{B491A2BC-3B64-4327-9357-175CCD064B1F}" type="sibTrans" cxnId="{53525CB9-6375-4E66-935F-F00A52ADFBA4}">
      <dgm:prSet/>
      <dgm:spPr/>
      <dgm:t>
        <a:bodyPr/>
        <a:lstStyle/>
        <a:p>
          <a:endParaRPr lang="ru-RU"/>
        </a:p>
      </dgm:t>
    </dgm:pt>
    <dgm:pt modelId="{3584E431-3785-45CE-B94C-B84BC59127EA}" type="parTrans" cxnId="{53525CB9-6375-4E66-935F-F00A52ADFBA4}">
      <dgm:prSet/>
      <dgm:spPr/>
      <dgm:t>
        <a:bodyPr/>
        <a:lstStyle/>
        <a:p>
          <a:endParaRPr lang="ru-RU"/>
        </a:p>
      </dgm:t>
    </dgm:pt>
    <dgm:pt modelId="{4705697E-3A05-41C4-8276-58DB97896F6B}">
      <dgm:prSet custT="1"/>
      <dgm:spPr/>
      <dgm:t>
        <a:bodyPr/>
        <a:lstStyle/>
        <a:p>
          <a:r>
            <a:rPr lang="ru-RU" sz="1500" dirty="0"/>
            <a:t>Бодяк полевой</a:t>
          </a:r>
        </a:p>
      </dgm:t>
    </dgm:pt>
    <dgm:pt modelId="{8582C9B7-E402-4917-A033-1F23FD5E9AB0}" type="parTrans" cxnId="{6422F466-625E-4E23-B566-7D8764E340B7}">
      <dgm:prSet/>
      <dgm:spPr/>
      <dgm:t>
        <a:bodyPr/>
        <a:lstStyle/>
        <a:p>
          <a:endParaRPr lang="ru-RU"/>
        </a:p>
      </dgm:t>
    </dgm:pt>
    <dgm:pt modelId="{A5C0076E-69C6-4E59-BA23-D6293E2F2DF3}" type="sibTrans" cxnId="{6422F466-625E-4E23-B566-7D8764E340B7}">
      <dgm:prSet/>
      <dgm:spPr/>
      <dgm:t>
        <a:bodyPr/>
        <a:lstStyle/>
        <a:p>
          <a:endParaRPr lang="ru-RU"/>
        </a:p>
      </dgm:t>
    </dgm:pt>
    <dgm:pt modelId="{1DA050A8-DD1E-4D6E-A822-4791CC85E72C}">
      <dgm:prSet custT="1"/>
      <dgm:spPr/>
      <dgm:t>
        <a:bodyPr/>
        <a:lstStyle/>
        <a:p>
          <a:r>
            <a:rPr lang="ru-RU" sz="1500" dirty="0"/>
            <a:t>Вьюнок полевой</a:t>
          </a:r>
        </a:p>
      </dgm:t>
    </dgm:pt>
    <dgm:pt modelId="{203E1ED3-B7F1-472B-B76E-5412FEE2AA16}" type="parTrans" cxnId="{386D7C24-DE00-48B7-90E6-B225868950DA}">
      <dgm:prSet/>
      <dgm:spPr/>
      <dgm:t>
        <a:bodyPr/>
        <a:lstStyle/>
        <a:p>
          <a:endParaRPr lang="ru-RU"/>
        </a:p>
      </dgm:t>
    </dgm:pt>
    <dgm:pt modelId="{6E1C59D4-2A13-4F45-BBC7-6E8D3AEF8454}" type="sibTrans" cxnId="{386D7C24-DE00-48B7-90E6-B225868950DA}">
      <dgm:prSet/>
      <dgm:spPr/>
      <dgm:t>
        <a:bodyPr/>
        <a:lstStyle/>
        <a:p>
          <a:endParaRPr lang="ru-RU"/>
        </a:p>
      </dgm:t>
    </dgm:pt>
    <dgm:pt modelId="{AE6972D0-6573-4912-862F-A00FFAAEF839}">
      <dgm:prSet custT="1"/>
      <dgm:spPr/>
      <dgm:t>
        <a:bodyPr/>
        <a:lstStyle/>
        <a:p>
          <a:r>
            <a:rPr lang="ru-RU" sz="1500" dirty="0"/>
            <a:t>Латук — молокан татарский</a:t>
          </a:r>
        </a:p>
      </dgm:t>
    </dgm:pt>
    <dgm:pt modelId="{BC90BBFD-B7A2-42A7-B3A9-D29EE0326E03}" type="parTrans" cxnId="{D12EDF72-9921-4838-AEB8-7AFD41700C01}">
      <dgm:prSet/>
      <dgm:spPr/>
      <dgm:t>
        <a:bodyPr/>
        <a:lstStyle/>
        <a:p>
          <a:endParaRPr lang="ru-RU"/>
        </a:p>
      </dgm:t>
    </dgm:pt>
    <dgm:pt modelId="{320F98B7-E368-4735-9817-85FB903D31FE}" type="sibTrans" cxnId="{D12EDF72-9921-4838-AEB8-7AFD41700C01}">
      <dgm:prSet/>
      <dgm:spPr/>
      <dgm:t>
        <a:bodyPr/>
        <a:lstStyle/>
        <a:p>
          <a:endParaRPr lang="ru-RU"/>
        </a:p>
      </dgm:t>
    </dgm:pt>
    <dgm:pt modelId="{E23CFB3C-7F79-4FB1-BA57-8A0545AC322F}">
      <dgm:prSet custT="1"/>
      <dgm:spPr/>
      <dgm:t>
        <a:bodyPr/>
        <a:lstStyle/>
        <a:p>
          <a:r>
            <a:rPr lang="ru-RU" sz="1500" dirty="0"/>
            <a:t>Льнянка, виды </a:t>
          </a:r>
        </a:p>
      </dgm:t>
    </dgm:pt>
    <dgm:pt modelId="{81E85CA9-AA05-45C8-8CE4-FDC1469A6939}" type="parTrans" cxnId="{54A5EFC1-D4C3-47F9-A1D2-25A620957E87}">
      <dgm:prSet/>
      <dgm:spPr/>
      <dgm:t>
        <a:bodyPr/>
        <a:lstStyle/>
        <a:p>
          <a:endParaRPr lang="ru-RU"/>
        </a:p>
      </dgm:t>
    </dgm:pt>
    <dgm:pt modelId="{60750BF5-C861-41B5-9582-ECFA1D38F906}" type="sibTrans" cxnId="{54A5EFC1-D4C3-47F9-A1D2-25A620957E87}">
      <dgm:prSet/>
      <dgm:spPr/>
      <dgm:t>
        <a:bodyPr/>
        <a:lstStyle/>
        <a:p>
          <a:endParaRPr lang="ru-RU"/>
        </a:p>
      </dgm:t>
    </dgm:pt>
    <dgm:pt modelId="{C08FFB42-CCB6-4C50-ADDC-CB2664882247}">
      <dgm:prSet custT="1"/>
      <dgm:spPr/>
      <dgm:t>
        <a:bodyPr/>
        <a:lstStyle/>
        <a:p>
          <a:r>
            <a:rPr lang="ru-RU" sz="1500" dirty="0"/>
            <a:t>Мать-и-мачеха обыкновенная  </a:t>
          </a:r>
        </a:p>
      </dgm:t>
    </dgm:pt>
    <dgm:pt modelId="{7BFFB28E-2767-49BD-B00A-650E5060C993}" type="parTrans" cxnId="{EFAB52D5-821F-450B-BE32-CA79F7651196}">
      <dgm:prSet/>
      <dgm:spPr/>
      <dgm:t>
        <a:bodyPr/>
        <a:lstStyle/>
        <a:p>
          <a:endParaRPr lang="ru-RU"/>
        </a:p>
      </dgm:t>
    </dgm:pt>
    <dgm:pt modelId="{47C53087-1896-42B9-8C81-02B85B236F07}" type="sibTrans" cxnId="{EFAB52D5-821F-450B-BE32-CA79F7651196}">
      <dgm:prSet/>
      <dgm:spPr/>
      <dgm:t>
        <a:bodyPr/>
        <a:lstStyle/>
        <a:p>
          <a:endParaRPr lang="ru-RU"/>
        </a:p>
      </dgm:t>
    </dgm:pt>
    <dgm:pt modelId="{63196A4E-E6B6-4D30-9FD5-A2A6A0B7C3F1}">
      <dgm:prSet custT="1"/>
      <dgm:spPr/>
      <dgm:t>
        <a:bodyPr/>
        <a:lstStyle/>
        <a:p>
          <a:r>
            <a:rPr lang="ru-RU" sz="1500" dirty="0"/>
            <a:t>Молочай лозный </a:t>
          </a:r>
        </a:p>
      </dgm:t>
    </dgm:pt>
    <dgm:pt modelId="{2FA507A3-725E-4411-9F88-228065FF4FC0}" type="parTrans" cxnId="{9E74B8F2-1D84-4F90-AA8C-EA8603396C7A}">
      <dgm:prSet/>
      <dgm:spPr/>
      <dgm:t>
        <a:bodyPr/>
        <a:lstStyle/>
        <a:p>
          <a:endParaRPr lang="ru-RU"/>
        </a:p>
      </dgm:t>
    </dgm:pt>
    <dgm:pt modelId="{C9EF7CC1-387C-4701-882D-F7FC1E63320C}" type="sibTrans" cxnId="{9E74B8F2-1D84-4F90-AA8C-EA8603396C7A}">
      <dgm:prSet/>
      <dgm:spPr/>
      <dgm:t>
        <a:bodyPr/>
        <a:lstStyle/>
        <a:p>
          <a:endParaRPr lang="ru-RU"/>
        </a:p>
      </dgm:t>
    </dgm:pt>
    <dgm:pt modelId="{B44BCCF9-D59A-4290-8022-C210F8BD85CF}">
      <dgm:prSet custT="1"/>
      <dgm:spPr/>
      <dgm:t>
        <a:bodyPr/>
        <a:lstStyle/>
        <a:p>
          <a:r>
            <a:rPr lang="ru-RU" sz="1500" dirty="0"/>
            <a:t>Нивяник обыкновенный </a:t>
          </a:r>
        </a:p>
      </dgm:t>
    </dgm:pt>
    <dgm:pt modelId="{E7AFE584-5088-47DC-B917-8B8E07CE9718}" type="parTrans" cxnId="{65FF6F2A-07E1-41FA-A50A-201CFD67F535}">
      <dgm:prSet/>
      <dgm:spPr/>
      <dgm:t>
        <a:bodyPr/>
        <a:lstStyle/>
        <a:p>
          <a:endParaRPr lang="ru-RU"/>
        </a:p>
      </dgm:t>
    </dgm:pt>
    <dgm:pt modelId="{A531A099-5CF6-48BD-B08E-CDC5CFAF7812}" type="sibTrans" cxnId="{65FF6F2A-07E1-41FA-A50A-201CFD67F535}">
      <dgm:prSet/>
      <dgm:spPr/>
      <dgm:t>
        <a:bodyPr/>
        <a:lstStyle/>
        <a:p>
          <a:endParaRPr lang="ru-RU"/>
        </a:p>
      </dgm:t>
    </dgm:pt>
    <dgm:pt modelId="{E356542A-006B-4A90-B2A3-95B1F24101C0}">
      <dgm:prSet custT="1"/>
      <dgm:spPr/>
      <dgm:t>
        <a:bodyPr/>
        <a:lstStyle/>
        <a:p>
          <a:r>
            <a:rPr lang="ru-RU" sz="1500" dirty="0"/>
            <a:t>Одуванчик лекарственный </a:t>
          </a:r>
        </a:p>
      </dgm:t>
    </dgm:pt>
    <dgm:pt modelId="{F3B5F4B2-AE6C-4E55-9F7D-432E410B31B2}" type="parTrans" cxnId="{67F48134-D9EA-4222-A506-8BA30B40C3E3}">
      <dgm:prSet/>
      <dgm:spPr/>
      <dgm:t>
        <a:bodyPr/>
        <a:lstStyle/>
        <a:p>
          <a:endParaRPr lang="ru-RU"/>
        </a:p>
      </dgm:t>
    </dgm:pt>
    <dgm:pt modelId="{1F5548AE-3949-490A-9B24-4FD7368A5FBC}" type="sibTrans" cxnId="{67F48134-D9EA-4222-A506-8BA30B40C3E3}">
      <dgm:prSet/>
      <dgm:spPr/>
      <dgm:t>
        <a:bodyPr/>
        <a:lstStyle/>
        <a:p>
          <a:endParaRPr lang="ru-RU"/>
        </a:p>
      </dgm:t>
    </dgm:pt>
    <dgm:pt modelId="{E61DA0D3-A82F-47CE-B617-89843F4E47FE}">
      <dgm:prSet custT="1"/>
      <dgm:spPr/>
      <dgm:t>
        <a:bodyPr/>
        <a:lstStyle/>
        <a:p>
          <a:r>
            <a:rPr lang="ru-RU" sz="1500" dirty="0"/>
            <a:t>Осот полевой, жёлтый  </a:t>
          </a:r>
        </a:p>
      </dgm:t>
    </dgm:pt>
    <dgm:pt modelId="{6C062A0E-B513-4F06-B4D6-F607992BE6AE}" type="parTrans" cxnId="{427FC580-0CD4-40A2-AC40-6F94FDF5EA3E}">
      <dgm:prSet/>
      <dgm:spPr/>
      <dgm:t>
        <a:bodyPr/>
        <a:lstStyle/>
        <a:p>
          <a:endParaRPr lang="ru-RU"/>
        </a:p>
      </dgm:t>
    </dgm:pt>
    <dgm:pt modelId="{A1AE3C62-567F-4A06-BD02-9B9864747890}" type="sibTrans" cxnId="{427FC580-0CD4-40A2-AC40-6F94FDF5EA3E}">
      <dgm:prSet/>
      <dgm:spPr/>
      <dgm:t>
        <a:bodyPr/>
        <a:lstStyle/>
        <a:p>
          <a:endParaRPr lang="ru-RU"/>
        </a:p>
      </dgm:t>
    </dgm:pt>
    <dgm:pt modelId="{DD411B60-C113-41E4-A13D-2718DB2E9227}">
      <dgm:prSet custT="1"/>
      <dgm:spPr/>
      <dgm:t>
        <a:bodyPr/>
        <a:lstStyle/>
        <a:p>
          <a:r>
            <a:rPr lang="ru-RU" sz="1500" dirty="0"/>
            <a:t>Полынь, виды </a:t>
          </a:r>
        </a:p>
      </dgm:t>
    </dgm:pt>
    <dgm:pt modelId="{98C54BC2-E4ED-4F84-84A4-2C0AAB0B179F}" type="parTrans" cxnId="{2226FB1A-DA93-47AD-94B6-ABE9B85962E9}">
      <dgm:prSet/>
      <dgm:spPr/>
      <dgm:t>
        <a:bodyPr/>
        <a:lstStyle/>
        <a:p>
          <a:endParaRPr lang="ru-RU"/>
        </a:p>
      </dgm:t>
    </dgm:pt>
    <dgm:pt modelId="{047AE81D-1176-4393-97A2-0DC9D3A8FB25}" type="sibTrans" cxnId="{2226FB1A-DA93-47AD-94B6-ABE9B85962E9}">
      <dgm:prSet/>
      <dgm:spPr/>
      <dgm:t>
        <a:bodyPr/>
        <a:lstStyle/>
        <a:p>
          <a:endParaRPr lang="ru-RU"/>
        </a:p>
      </dgm:t>
    </dgm:pt>
    <dgm:pt modelId="{C669AA3F-1D13-428C-AE39-E1D1E48D7B34}">
      <dgm:prSet custT="1"/>
      <dgm:spPr/>
      <dgm:t>
        <a:bodyPr/>
        <a:lstStyle/>
        <a:p>
          <a:r>
            <a:rPr lang="ru-RU" sz="1500" dirty="0"/>
            <a:t>Ромашка, виды </a:t>
          </a:r>
        </a:p>
      </dgm:t>
    </dgm:pt>
    <dgm:pt modelId="{492FD35A-F9F6-4C47-802F-7733B27DDE22}" type="parTrans" cxnId="{B7915D15-14F1-489C-A1FB-705044CF43CF}">
      <dgm:prSet/>
      <dgm:spPr/>
      <dgm:t>
        <a:bodyPr/>
        <a:lstStyle/>
        <a:p>
          <a:endParaRPr lang="ru-RU"/>
        </a:p>
      </dgm:t>
    </dgm:pt>
    <dgm:pt modelId="{9E8FA93F-0650-464B-A654-44CC359FC3AF}" type="sibTrans" cxnId="{B7915D15-14F1-489C-A1FB-705044CF43CF}">
      <dgm:prSet/>
      <dgm:spPr/>
      <dgm:t>
        <a:bodyPr/>
        <a:lstStyle/>
        <a:p>
          <a:endParaRPr lang="ru-RU"/>
        </a:p>
      </dgm:t>
    </dgm:pt>
    <dgm:pt modelId="{25E14DB1-82D9-48B0-BE1E-0132FF92DEA0}">
      <dgm:prSet custT="1"/>
      <dgm:spPr/>
      <dgm:t>
        <a:bodyPr/>
        <a:lstStyle/>
        <a:p>
          <a:r>
            <a:rPr lang="ru-RU" sz="1500" dirty="0"/>
            <a:t>Чина, виды </a:t>
          </a:r>
        </a:p>
      </dgm:t>
    </dgm:pt>
    <dgm:pt modelId="{04B8FAC8-6FDA-4A04-8F81-DBCA769AA02D}" type="parTrans" cxnId="{7A95DA8D-5FB7-47D0-B110-36E2228020D7}">
      <dgm:prSet/>
      <dgm:spPr/>
      <dgm:t>
        <a:bodyPr/>
        <a:lstStyle/>
        <a:p>
          <a:endParaRPr lang="ru-RU"/>
        </a:p>
      </dgm:t>
    </dgm:pt>
    <dgm:pt modelId="{8A426CA8-CF69-4057-AFF6-17DDBF79509E}" type="sibTrans" cxnId="{7A95DA8D-5FB7-47D0-B110-36E2228020D7}">
      <dgm:prSet/>
      <dgm:spPr/>
      <dgm:t>
        <a:bodyPr/>
        <a:lstStyle/>
        <a:p>
          <a:endParaRPr lang="ru-RU"/>
        </a:p>
      </dgm:t>
    </dgm:pt>
    <dgm:pt modelId="{4668F902-6B68-46B9-95D2-1C38116BDF5C}">
      <dgm:prSet custT="1"/>
      <dgm:spPr/>
      <dgm:t>
        <a:bodyPr/>
        <a:lstStyle/>
        <a:p>
          <a:r>
            <a:rPr lang="ru-RU" sz="1500" dirty="0"/>
            <a:t>Чистец полевой </a:t>
          </a:r>
        </a:p>
      </dgm:t>
    </dgm:pt>
    <dgm:pt modelId="{C1905D88-34F9-46F5-8961-DAE8E8063415}" type="parTrans" cxnId="{2786B894-07AB-499D-A4A3-209A8C32F808}">
      <dgm:prSet/>
      <dgm:spPr/>
      <dgm:t>
        <a:bodyPr/>
        <a:lstStyle/>
        <a:p>
          <a:endParaRPr lang="ru-RU"/>
        </a:p>
      </dgm:t>
    </dgm:pt>
    <dgm:pt modelId="{3D3C3270-E5C1-46F4-81ED-470D84F36DA0}" type="sibTrans" cxnId="{2786B894-07AB-499D-A4A3-209A8C32F808}">
      <dgm:prSet/>
      <dgm:spPr/>
      <dgm:t>
        <a:bodyPr/>
        <a:lstStyle/>
        <a:p>
          <a:endParaRPr lang="ru-RU"/>
        </a:p>
      </dgm:t>
    </dgm:pt>
    <dgm:pt modelId="{F419AEC0-5DC8-47AD-9171-DE85FFC93502}">
      <dgm:prSet custT="1"/>
      <dgm:spPr/>
      <dgm:t>
        <a:bodyPr/>
        <a:lstStyle/>
        <a:p>
          <a:r>
            <a:rPr lang="ru-RU" sz="1500" dirty="0"/>
            <a:t>Щавель, виды </a:t>
          </a:r>
        </a:p>
      </dgm:t>
    </dgm:pt>
    <dgm:pt modelId="{5B958EFC-2E83-4232-BE6D-EB3600E1AC83}" type="parTrans" cxnId="{DB1F6673-0874-435E-BE96-7F98655D3FD0}">
      <dgm:prSet/>
      <dgm:spPr/>
      <dgm:t>
        <a:bodyPr/>
        <a:lstStyle/>
        <a:p>
          <a:endParaRPr lang="ru-RU"/>
        </a:p>
      </dgm:t>
    </dgm:pt>
    <dgm:pt modelId="{2492D2EC-56D5-4EB3-B6F1-8506A7FFB6A6}" type="sibTrans" cxnId="{DB1F6673-0874-435E-BE96-7F98655D3FD0}">
      <dgm:prSet/>
      <dgm:spPr/>
      <dgm:t>
        <a:bodyPr/>
        <a:lstStyle/>
        <a:p>
          <a:endParaRPr lang="ru-RU"/>
        </a:p>
      </dgm:t>
    </dgm:pt>
    <dgm:pt modelId="{A2B6C82B-6B54-469F-925C-A0DDB6B795EC}">
      <dgm:prSet custT="1"/>
      <dgm:spPr>
        <a:gradFill rotWithShape="0">
          <a:gsLst>
            <a:gs pos="0">
              <a:srgbClr val="98FF98"/>
            </a:gs>
            <a:gs pos="100000">
              <a:srgbClr val="6CFF40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Очный цвет полевой </a:t>
          </a:r>
        </a:p>
      </dgm:t>
    </dgm:pt>
    <dgm:pt modelId="{4FEABE51-6DBA-4331-B84C-55D80C16903C}" type="parTrans" cxnId="{5493760E-7471-4173-9036-61409ADC7E7C}">
      <dgm:prSet/>
      <dgm:spPr/>
      <dgm:t>
        <a:bodyPr/>
        <a:lstStyle/>
        <a:p>
          <a:endParaRPr lang="ru-RU"/>
        </a:p>
      </dgm:t>
    </dgm:pt>
    <dgm:pt modelId="{441629D2-0AA4-4F93-968F-BB3A9E32586D}" type="sibTrans" cxnId="{5493760E-7471-4173-9036-61409ADC7E7C}">
      <dgm:prSet/>
      <dgm:spPr/>
      <dgm:t>
        <a:bodyPr/>
        <a:lstStyle/>
        <a:p>
          <a:endParaRPr lang="ru-RU"/>
        </a:p>
      </dgm:t>
    </dgm:pt>
    <dgm:pt modelId="{37428D55-5D8F-45BA-B674-162C8F44F1AB}">
      <dgm:prSet custT="1"/>
      <dgm:spPr>
        <a:gradFill rotWithShape="0">
          <a:gsLst>
            <a:gs pos="0">
              <a:srgbClr val="98FF98"/>
            </a:gs>
            <a:gs pos="100000">
              <a:srgbClr val="6CFF40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Рапс, падалица</a:t>
          </a:r>
        </a:p>
      </dgm:t>
    </dgm:pt>
    <dgm:pt modelId="{3CCCA15C-B4A2-469E-AB09-4B7D8982EF2A}" type="parTrans" cxnId="{AAA13DF3-ADB9-402C-80F1-ECE40ED4CA30}">
      <dgm:prSet/>
      <dgm:spPr/>
      <dgm:t>
        <a:bodyPr/>
        <a:lstStyle/>
        <a:p>
          <a:endParaRPr lang="ru-RU"/>
        </a:p>
      </dgm:t>
    </dgm:pt>
    <dgm:pt modelId="{2CB94EBB-B090-452B-B4F5-001867A3D7F2}" type="sibTrans" cxnId="{AAA13DF3-ADB9-402C-80F1-ECE40ED4CA30}">
      <dgm:prSet/>
      <dgm:spPr/>
      <dgm:t>
        <a:bodyPr/>
        <a:lstStyle/>
        <a:p>
          <a:endParaRPr lang="ru-RU"/>
        </a:p>
      </dgm:t>
    </dgm:pt>
    <dgm:pt modelId="{558D1A80-C44D-4A1D-A9D8-D5F7780A73EE}">
      <dgm:prSet custT="1"/>
      <dgm:spPr>
        <a:gradFill rotWithShape="0">
          <a:gsLst>
            <a:gs pos="0">
              <a:srgbClr val="98FF98"/>
            </a:gs>
            <a:gs pos="100000">
              <a:srgbClr val="6CFF40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Редька дикая </a:t>
          </a:r>
        </a:p>
      </dgm:t>
    </dgm:pt>
    <dgm:pt modelId="{0A6380CF-2856-4D80-94FA-C323BB70F1C3}" type="parTrans" cxnId="{3A7C7FD1-9ED7-47CF-8288-B7CDEBC04A07}">
      <dgm:prSet/>
      <dgm:spPr/>
      <dgm:t>
        <a:bodyPr/>
        <a:lstStyle/>
        <a:p>
          <a:endParaRPr lang="ru-RU"/>
        </a:p>
      </dgm:t>
    </dgm:pt>
    <dgm:pt modelId="{F97760B2-0044-44EA-B7B4-83A59AEA4840}" type="sibTrans" cxnId="{3A7C7FD1-9ED7-47CF-8288-B7CDEBC04A07}">
      <dgm:prSet/>
      <dgm:spPr/>
      <dgm:t>
        <a:bodyPr/>
        <a:lstStyle/>
        <a:p>
          <a:endParaRPr lang="ru-RU"/>
        </a:p>
      </dgm:t>
    </dgm:pt>
    <dgm:pt modelId="{41FDA859-200C-4E23-A123-9D9B8EEAD502}">
      <dgm:prSet custT="1"/>
      <dgm:spPr>
        <a:gradFill rotWithShape="0">
          <a:gsLst>
            <a:gs pos="0">
              <a:srgbClr val="98FF98"/>
            </a:gs>
            <a:gs pos="100000">
              <a:srgbClr val="6CFF40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Сурепка обыкновенная </a:t>
          </a:r>
        </a:p>
      </dgm:t>
    </dgm:pt>
    <dgm:pt modelId="{AABF4E76-8322-4DDE-BAF4-64F87FB5E96B}" type="parTrans" cxnId="{612A363C-1A09-4BC6-8326-CD5C3B7173D2}">
      <dgm:prSet/>
      <dgm:spPr/>
      <dgm:t>
        <a:bodyPr/>
        <a:lstStyle/>
        <a:p>
          <a:endParaRPr lang="ru-RU"/>
        </a:p>
      </dgm:t>
    </dgm:pt>
    <dgm:pt modelId="{88C73B02-9B7C-449E-AE67-6D3C178C00B8}" type="sibTrans" cxnId="{612A363C-1A09-4BC6-8326-CD5C3B7173D2}">
      <dgm:prSet/>
      <dgm:spPr/>
      <dgm:t>
        <a:bodyPr/>
        <a:lstStyle/>
        <a:p>
          <a:endParaRPr lang="ru-RU"/>
        </a:p>
      </dgm:t>
    </dgm:pt>
    <dgm:pt modelId="{C171F469-D430-4F2B-B365-A0A4697730B7}">
      <dgm:prSet custT="1"/>
      <dgm:spPr>
        <a:gradFill rotWithShape="0">
          <a:gsLst>
            <a:gs pos="0">
              <a:srgbClr val="98FF98"/>
            </a:gs>
            <a:gs pos="100000">
              <a:srgbClr val="6CFF40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Щирица, виды </a:t>
          </a:r>
        </a:p>
      </dgm:t>
    </dgm:pt>
    <dgm:pt modelId="{E3E15DC1-2FD1-45C8-93CD-BEC3C4ED510A}" type="parTrans" cxnId="{CCEDCD0F-11AD-4CC4-8D51-924F66BCD998}">
      <dgm:prSet/>
      <dgm:spPr/>
      <dgm:t>
        <a:bodyPr/>
        <a:lstStyle/>
        <a:p>
          <a:endParaRPr lang="ru-RU"/>
        </a:p>
      </dgm:t>
    </dgm:pt>
    <dgm:pt modelId="{D0D06D59-13F8-497E-82A3-12AD94FF07B5}" type="sibTrans" cxnId="{CCEDCD0F-11AD-4CC4-8D51-924F66BCD998}">
      <dgm:prSet/>
      <dgm:spPr/>
      <dgm:t>
        <a:bodyPr/>
        <a:lstStyle/>
        <a:p>
          <a:endParaRPr lang="ru-RU"/>
        </a:p>
      </dgm:t>
    </dgm:pt>
    <dgm:pt modelId="{C0429A1F-E267-40DF-8ED0-0C7ACEAEB31D}">
      <dgm:prSet custT="1"/>
      <dgm:spPr>
        <a:gradFill rotWithShape="0">
          <a:gsLst>
            <a:gs pos="0">
              <a:srgbClr val="98FF98"/>
            </a:gs>
            <a:gs pos="100000">
              <a:srgbClr val="6CFF40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Ярутка полевая </a:t>
          </a:r>
        </a:p>
      </dgm:t>
    </dgm:pt>
    <dgm:pt modelId="{1B8F5C34-1718-4489-811D-CB08F334455D}" type="parTrans" cxnId="{2FC26E98-D73C-4FDD-854B-A371272DC4A6}">
      <dgm:prSet/>
      <dgm:spPr/>
      <dgm:t>
        <a:bodyPr/>
        <a:lstStyle/>
        <a:p>
          <a:endParaRPr lang="ru-RU"/>
        </a:p>
      </dgm:t>
    </dgm:pt>
    <dgm:pt modelId="{1DF34D7D-9A75-43D3-A228-814CBF2EE0FB}" type="sibTrans" cxnId="{2FC26E98-D73C-4FDD-854B-A371272DC4A6}">
      <dgm:prSet/>
      <dgm:spPr/>
      <dgm:t>
        <a:bodyPr/>
        <a:lstStyle/>
        <a:p>
          <a:endParaRPr lang="ru-RU"/>
        </a:p>
      </dgm:t>
    </dgm:pt>
    <dgm:pt modelId="{CBA149D0-4E57-4EA8-98A2-AF527DDDABB9}">
      <dgm:prSet custT="1"/>
      <dgm:spPr>
        <a:gradFill rotWithShape="0">
          <a:gsLst>
            <a:gs pos="0">
              <a:srgbClr val="98FF98"/>
            </a:gs>
            <a:gs pos="100000">
              <a:srgbClr val="6CFF40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Ясколка, виды  </a:t>
          </a:r>
        </a:p>
      </dgm:t>
    </dgm:pt>
    <dgm:pt modelId="{505C484E-7B9C-4697-B043-3DEC6A428E49}" type="parTrans" cxnId="{CE5DA26F-E007-42B7-8D12-99922040035C}">
      <dgm:prSet/>
      <dgm:spPr/>
      <dgm:t>
        <a:bodyPr/>
        <a:lstStyle/>
        <a:p>
          <a:endParaRPr lang="ru-RU"/>
        </a:p>
      </dgm:t>
    </dgm:pt>
    <dgm:pt modelId="{FA11C90E-1102-4934-AFB4-20AF2DE7671C}" type="sibTrans" cxnId="{CE5DA26F-E007-42B7-8D12-99922040035C}">
      <dgm:prSet/>
      <dgm:spPr/>
      <dgm:t>
        <a:bodyPr/>
        <a:lstStyle/>
        <a:p>
          <a:endParaRPr lang="ru-RU"/>
        </a:p>
      </dgm:t>
    </dgm:pt>
    <dgm:pt modelId="{F34A3B64-E886-473A-9771-E052ABD117EC}">
      <dgm:prSet custT="1"/>
      <dgm:spPr>
        <a:gradFill rotWithShape="0">
          <a:gsLst>
            <a:gs pos="0">
              <a:srgbClr val="98FF98"/>
            </a:gs>
            <a:gs pos="100000">
              <a:srgbClr val="6CFF40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Яснотка, виды  </a:t>
          </a:r>
        </a:p>
      </dgm:t>
    </dgm:pt>
    <dgm:pt modelId="{C37614EB-642B-4A4D-86C4-24FFE57FC9C7}" type="parTrans" cxnId="{9BDE2414-1450-4CA2-8A24-F6EFAF0E2776}">
      <dgm:prSet/>
      <dgm:spPr/>
      <dgm:t>
        <a:bodyPr/>
        <a:lstStyle/>
        <a:p>
          <a:endParaRPr lang="ru-RU"/>
        </a:p>
      </dgm:t>
    </dgm:pt>
    <dgm:pt modelId="{4C164763-A466-40BC-9A44-1E3E18C10CAB}" type="sibTrans" cxnId="{9BDE2414-1450-4CA2-8A24-F6EFAF0E2776}">
      <dgm:prSet/>
      <dgm:spPr/>
      <dgm:t>
        <a:bodyPr/>
        <a:lstStyle/>
        <a:p>
          <a:endParaRPr lang="ru-RU"/>
        </a:p>
      </dgm:t>
    </dgm:pt>
    <dgm:pt modelId="{03A85739-9610-4268-8F67-5488EFDEBC9B}">
      <dgm:prSet phldrT="[Текст]" custT="1"/>
      <dgm:spPr>
        <a:gradFill rotWithShape="0">
          <a:gsLst>
            <a:gs pos="0">
              <a:srgbClr val="98FF98"/>
            </a:gs>
            <a:gs pos="100000">
              <a:srgbClr val="6CFF40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Паслён черный </a:t>
          </a:r>
        </a:p>
      </dgm:t>
    </dgm:pt>
    <dgm:pt modelId="{5CDB0C7F-CC55-43AC-AFE9-1B6BC7668D4A}" type="parTrans" cxnId="{168F1A94-6983-45A0-A0CB-5D90DE7512E0}">
      <dgm:prSet/>
      <dgm:spPr/>
      <dgm:t>
        <a:bodyPr/>
        <a:lstStyle/>
        <a:p>
          <a:endParaRPr lang="ru-RU"/>
        </a:p>
      </dgm:t>
    </dgm:pt>
    <dgm:pt modelId="{D85C54FD-C83F-4171-B90A-7861BF75DF52}" type="sibTrans" cxnId="{168F1A94-6983-45A0-A0CB-5D90DE7512E0}">
      <dgm:prSet/>
      <dgm:spPr/>
      <dgm:t>
        <a:bodyPr/>
        <a:lstStyle/>
        <a:p>
          <a:endParaRPr lang="ru-RU"/>
        </a:p>
      </dgm:t>
    </dgm:pt>
    <dgm:pt modelId="{D0A82318-DB54-4C2E-AD39-230D2BAB6B60}">
      <dgm:prSet custT="1"/>
      <dgm:spPr>
        <a:gradFill rotWithShape="0">
          <a:gsLst>
            <a:gs pos="0">
              <a:srgbClr val="98FF98"/>
            </a:gs>
            <a:gs pos="100000">
              <a:srgbClr val="6CFF40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Пастушья сумка обыкновенная </a:t>
          </a:r>
        </a:p>
      </dgm:t>
    </dgm:pt>
    <dgm:pt modelId="{E51769E5-1FD6-44D8-A6BC-5E6E9F1A9DDA}" type="parTrans" cxnId="{29F43801-D993-4332-B914-BFE67B967580}">
      <dgm:prSet/>
      <dgm:spPr/>
      <dgm:t>
        <a:bodyPr/>
        <a:lstStyle/>
        <a:p>
          <a:endParaRPr lang="ru-RU"/>
        </a:p>
      </dgm:t>
    </dgm:pt>
    <dgm:pt modelId="{D4FF9523-64B7-4D5C-8EE1-354A8FA3B798}" type="sibTrans" cxnId="{29F43801-D993-4332-B914-BFE67B967580}">
      <dgm:prSet/>
      <dgm:spPr/>
      <dgm:t>
        <a:bodyPr/>
        <a:lstStyle/>
        <a:p>
          <a:endParaRPr lang="ru-RU"/>
        </a:p>
      </dgm:t>
    </dgm:pt>
    <dgm:pt modelId="{4DDC6347-9BD6-4687-84F5-2E8985B749F2}">
      <dgm:prSet custT="1"/>
      <dgm:spPr>
        <a:gradFill rotWithShape="0">
          <a:gsLst>
            <a:gs pos="0">
              <a:srgbClr val="98FF98"/>
            </a:gs>
            <a:gs pos="100000">
              <a:srgbClr val="6CFF40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Подмаренник цепкий </a:t>
          </a:r>
        </a:p>
      </dgm:t>
    </dgm:pt>
    <dgm:pt modelId="{8D74E005-6778-4003-97ED-D264801C5D60}" type="parTrans" cxnId="{2E011E53-B185-47F3-B34D-93C94DC35A3A}">
      <dgm:prSet/>
      <dgm:spPr/>
      <dgm:t>
        <a:bodyPr/>
        <a:lstStyle/>
        <a:p>
          <a:endParaRPr lang="ru-RU"/>
        </a:p>
      </dgm:t>
    </dgm:pt>
    <dgm:pt modelId="{9207E08F-C684-4CF3-8434-9521605C688B}" type="sibTrans" cxnId="{2E011E53-B185-47F3-B34D-93C94DC35A3A}">
      <dgm:prSet/>
      <dgm:spPr/>
      <dgm:t>
        <a:bodyPr/>
        <a:lstStyle/>
        <a:p>
          <a:endParaRPr lang="ru-RU"/>
        </a:p>
      </dgm:t>
    </dgm:pt>
    <dgm:pt modelId="{EDCDDEE5-2002-447A-8CC1-72F17504B136}">
      <dgm:prSet custT="1"/>
      <dgm:spPr>
        <a:gradFill rotWithShape="0">
          <a:gsLst>
            <a:gs pos="0">
              <a:srgbClr val="98FF98"/>
            </a:gs>
            <a:gs pos="100000">
              <a:srgbClr val="6CFF40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Пикульник, виды </a:t>
          </a:r>
        </a:p>
      </dgm:t>
    </dgm:pt>
    <dgm:pt modelId="{F5689490-5845-4EF3-9AF8-CEA5ADC3A37D}" type="parTrans" cxnId="{A3A79AA2-674C-4C8F-BA36-D38DEF71721B}">
      <dgm:prSet/>
      <dgm:spPr/>
      <dgm:t>
        <a:bodyPr/>
        <a:lstStyle/>
        <a:p>
          <a:endParaRPr lang="ru-RU"/>
        </a:p>
      </dgm:t>
    </dgm:pt>
    <dgm:pt modelId="{B3A9385C-98BD-4406-9041-65EA97F4428E}" type="sibTrans" cxnId="{A3A79AA2-674C-4C8F-BA36-D38DEF71721B}">
      <dgm:prSet/>
      <dgm:spPr/>
      <dgm:t>
        <a:bodyPr/>
        <a:lstStyle/>
        <a:p>
          <a:endParaRPr lang="ru-RU"/>
        </a:p>
      </dgm:t>
    </dgm:pt>
    <dgm:pt modelId="{56451E84-9017-4A3B-AB45-FFE63AD7A480}">
      <dgm:prSet custT="1"/>
      <dgm:spPr>
        <a:gradFill rotWithShape="0">
          <a:gsLst>
            <a:gs pos="0">
              <a:srgbClr val="98FF98"/>
            </a:gs>
            <a:gs pos="100000">
              <a:srgbClr val="6CFF40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Подсолнечник, падалица </a:t>
          </a:r>
        </a:p>
      </dgm:t>
    </dgm:pt>
    <dgm:pt modelId="{A141772E-5103-4049-94D6-0D91E79E9BF8}" type="parTrans" cxnId="{80377C9B-362D-4A31-A0AE-7433FA722EA7}">
      <dgm:prSet/>
      <dgm:spPr/>
      <dgm:t>
        <a:bodyPr/>
        <a:lstStyle/>
        <a:p>
          <a:endParaRPr lang="ru-RU"/>
        </a:p>
      </dgm:t>
    </dgm:pt>
    <dgm:pt modelId="{7DF8A9C9-B3C4-4D1A-941B-B1290BD16A7C}" type="sibTrans" cxnId="{80377C9B-362D-4A31-A0AE-7433FA722EA7}">
      <dgm:prSet/>
      <dgm:spPr/>
      <dgm:t>
        <a:bodyPr/>
        <a:lstStyle/>
        <a:p>
          <a:endParaRPr lang="ru-RU"/>
        </a:p>
      </dgm:t>
    </dgm:pt>
    <dgm:pt modelId="{939279DE-19ED-4A33-9A62-A9B9F169D2AE}">
      <dgm:prSet custT="1"/>
      <dgm:spPr>
        <a:gradFill rotWithShape="0">
          <a:gsLst>
            <a:gs pos="0">
              <a:srgbClr val="98FF98"/>
            </a:gs>
            <a:gs pos="100000">
              <a:srgbClr val="6CFF40"/>
            </a:gs>
          </a:gsLst>
        </a:gradFill>
      </dgm:spPr>
      <dgm:t>
        <a:bodyPr/>
        <a:lstStyle/>
        <a:p>
          <a:r>
            <a:rPr lang="ru-RU" sz="1500" dirty="0">
              <a:solidFill>
                <a:schemeClr val="tx1">
                  <a:lumMod val="65000"/>
                  <a:lumOff val="35000"/>
                </a:schemeClr>
              </a:solidFill>
            </a:rPr>
            <a:t>Пупавка, виды </a:t>
          </a:r>
        </a:p>
      </dgm:t>
    </dgm:pt>
    <dgm:pt modelId="{C57B3B2F-C7DE-4AAF-9E09-3751C46C66C7}" type="parTrans" cxnId="{6C67853E-3BD6-4172-932B-C2EDD707C307}">
      <dgm:prSet/>
      <dgm:spPr/>
      <dgm:t>
        <a:bodyPr/>
        <a:lstStyle/>
        <a:p>
          <a:endParaRPr lang="ru-RU"/>
        </a:p>
      </dgm:t>
    </dgm:pt>
    <dgm:pt modelId="{4153A550-0DA1-486E-A3A1-0BF8EB2A8F93}" type="sibTrans" cxnId="{6C67853E-3BD6-4172-932B-C2EDD707C307}">
      <dgm:prSet/>
      <dgm:spPr/>
      <dgm:t>
        <a:bodyPr/>
        <a:lstStyle/>
        <a:p>
          <a:endParaRPr lang="ru-RU"/>
        </a:p>
      </dgm:t>
    </dgm:pt>
    <dgm:pt modelId="{30E2EB2C-6E77-4DF5-9D60-5A01818B0DFA}" type="pres">
      <dgm:prSet presAssocID="{B83024F0-35D1-4C66-9B63-44F59109BE9D}" presName="linearFlow" presStyleCnt="0">
        <dgm:presLayoutVars>
          <dgm:dir/>
          <dgm:animLvl val="lvl"/>
          <dgm:resizeHandles/>
        </dgm:presLayoutVars>
      </dgm:prSet>
      <dgm:spPr/>
    </dgm:pt>
    <dgm:pt modelId="{E0F230DD-317C-400B-B578-BB8F63FD32CB}" type="pres">
      <dgm:prSet presAssocID="{2B211451-B3E3-4EAF-80C2-4A49C553278B}" presName="compositeNode" presStyleCnt="0">
        <dgm:presLayoutVars>
          <dgm:bulletEnabled val="1"/>
        </dgm:presLayoutVars>
      </dgm:prSet>
      <dgm:spPr/>
    </dgm:pt>
    <dgm:pt modelId="{26B0028F-52F7-4529-9A45-51EBB4CC15CA}" type="pres">
      <dgm:prSet presAssocID="{2B211451-B3E3-4EAF-80C2-4A49C553278B}" presName="image" presStyleLbl="fgImgPlace1" presStyleIdx="0" presStyleCnt="4" custLinFactNeighborX="24737" custLinFactNeighborY="-2249"/>
      <dgm:spPr>
        <a:blipFill>
          <a:blip xmlns:r="http://schemas.openxmlformats.org/officeDocument/2006/relationships" r:embed="rId1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Трилистник"/>
        </a:ext>
      </dgm:extLst>
    </dgm:pt>
    <dgm:pt modelId="{480BB637-4591-4405-B88B-AA447E7DF1E6}" type="pres">
      <dgm:prSet presAssocID="{2B211451-B3E3-4EAF-80C2-4A49C553278B}" presName="childNode" presStyleLbl="node1" presStyleIdx="0" presStyleCnt="4" custScaleX="207278" custLinFactNeighborX="38064" custLinFactNeighborY="-277">
        <dgm:presLayoutVars>
          <dgm:bulletEnabled val="1"/>
        </dgm:presLayoutVars>
      </dgm:prSet>
      <dgm:spPr/>
    </dgm:pt>
    <dgm:pt modelId="{BF62E6C2-5AF9-4228-B979-FE2E3F968E31}" type="pres">
      <dgm:prSet presAssocID="{2B211451-B3E3-4EAF-80C2-4A49C553278B}" presName="parentNode" presStyleLbl="revTx" presStyleIdx="0" presStyleCnt="4" custLinFactX="-76825" custLinFactNeighborX="-100000" custLinFactNeighborY="-485">
        <dgm:presLayoutVars>
          <dgm:chMax val="0"/>
          <dgm:bulletEnabled val="1"/>
        </dgm:presLayoutVars>
      </dgm:prSet>
      <dgm:spPr/>
    </dgm:pt>
    <dgm:pt modelId="{D514F03A-BF27-489B-A0E8-DA50A4FD4393}" type="pres">
      <dgm:prSet presAssocID="{30F157E8-1DE0-44F9-8195-A178A09D3E2C}" presName="sibTrans" presStyleCnt="0"/>
      <dgm:spPr/>
    </dgm:pt>
    <dgm:pt modelId="{74EA4E87-81F7-4B53-91E9-6B0299BB8F9D}" type="pres">
      <dgm:prSet presAssocID="{3CD21E66-9F8E-404A-98AB-2D362D16AE5F}" presName="compositeNode" presStyleCnt="0">
        <dgm:presLayoutVars>
          <dgm:bulletEnabled val="1"/>
        </dgm:presLayoutVars>
      </dgm:prSet>
      <dgm:spPr/>
    </dgm:pt>
    <dgm:pt modelId="{AE8F128C-56AD-413D-9119-DC85EE82C366}" type="pres">
      <dgm:prSet presAssocID="{3CD21E66-9F8E-404A-98AB-2D362D16AE5F}" presName="image" presStyleLbl="fgImgPlace1" presStyleIdx="1" presStyleCnt="4"/>
      <dgm:spPr>
        <a:blipFill>
          <a:blip xmlns:r="http://schemas.openxmlformats.org/officeDocument/2006/relationships" r:embed="rId1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Трилистник"/>
        </a:ext>
      </dgm:extLst>
    </dgm:pt>
    <dgm:pt modelId="{1AFA29BF-DE71-4F51-B2A8-0B97214BD412}" type="pres">
      <dgm:prSet presAssocID="{3CD21E66-9F8E-404A-98AB-2D362D16AE5F}" presName="childNode" presStyleLbl="node1" presStyleIdx="1" presStyleCnt="4" custScaleX="199072" custLinFactNeighborX="18631" custLinFactNeighborY="-277">
        <dgm:presLayoutVars>
          <dgm:bulletEnabled val="1"/>
        </dgm:presLayoutVars>
      </dgm:prSet>
      <dgm:spPr/>
    </dgm:pt>
    <dgm:pt modelId="{5D90C623-2822-4E5C-BDD3-1577DF0942BA}" type="pres">
      <dgm:prSet presAssocID="{3CD21E66-9F8E-404A-98AB-2D362D16AE5F}" presName="parentNode" presStyleLbl="revTx" presStyleIdx="1" presStyleCnt="4">
        <dgm:presLayoutVars>
          <dgm:chMax val="0"/>
          <dgm:bulletEnabled val="1"/>
        </dgm:presLayoutVars>
      </dgm:prSet>
      <dgm:spPr/>
    </dgm:pt>
    <dgm:pt modelId="{56D046B7-87CA-46A1-8D3A-0F110DE5EE8F}" type="pres">
      <dgm:prSet presAssocID="{B491A2BC-3B64-4327-9357-175CCD064B1F}" presName="sibTrans" presStyleCnt="0"/>
      <dgm:spPr/>
    </dgm:pt>
    <dgm:pt modelId="{38B70BD5-9746-4842-AD0C-EAA27A44484D}" type="pres">
      <dgm:prSet presAssocID="{4AE30D9A-3BD7-42DA-8444-ED811AF14051}" presName="compositeNode" presStyleCnt="0">
        <dgm:presLayoutVars>
          <dgm:bulletEnabled val="1"/>
        </dgm:presLayoutVars>
      </dgm:prSet>
      <dgm:spPr/>
    </dgm:pt>
    <dgm:pt modelId="{0676F1CE-3DBB-456C-BACB-71192E699760}" type="pres">
      <dgm:prSet presAssocID="{4AE30D9A-3BD7-42DA-8444-ED811AF14051}" presName="image" presStyleLbl="fgImgPlace1" presStyleIdx="2" presStyleCnt="4" custLinFactNeighborX="-62966" custLinFactNeighborY="-2249"/>
      <dgm:spPr>
        <a:blipFill>
          <a:blip xmlns:r="http://schemas.openxmlformats.org/officeDocument/2006/relationships" r:embed="rId1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Трилистник"/>
        </a:ext>
      </dgm:extLst>
    </dgm:pt>
    <dgm:pt modelId="{68A20C4B-87E3-43FE-8EEF-4D1C0F6330FC}" type="pres">
      <dgm:prSet presAssocID="{4AE30D9A-3BD7-42DA-8444-ED811AF14051}" presName="childNode" presStyleLbl="node1" presStyleIdx="2" presStyleCnt="4" custScaleX="211490">
        <dgm:presLayoutVars>
          <dgm:bulletEnabled val="1"/>
        </dgm:presLayoutVars>
      </dgm:prSet>
      <dgm:spPr/>
    </dgm:pt>
    <dgm:pt modelId="{75707ECB-889B-44DE-BCA0-37C1D5649F08}" type="pres">
      <dgm:prSet presAssocID="{4AE30D9A-3BD7-42DA-8444-ED811AF14051}" presName="parentNode" presStyleLbl="revTx" presStyleIdx="2" presStyleCnt="4" custLinFactX="313352" custLinFactNeighborX="400000" custLinFactNeighborY="1458">
        <dgm:presLayoutVars>
          <dgm:chMax val="0"/>
          <dgm:bulletEnabled val="1"/>
        </dgm:presLayoutVars>
      </dgm:prSet>
      <dgm:spPr/>
    </dgm:pt>
    <dgm:pt modelId="{64B4D576-9BB2-43A3-BFC6-992E5507D8BC}" type="pres">
      <dgm:prSet presAssocID="{A3F8CE55-5933-4638-B58E-AB5256CAF3DE}" presName="sibTrans" presStyleCnt="0"/>
      <dgm:spPr/>
    </dgm:pt>
    <dgm:pt modelId="{9F6B5575-D5D4-45C9-8529-C9228CE477F0}" type="pres">
      <dgm:prSet presAssocID="{639607A9-95FD-4721-97AA-55BFFB4F94E2}" presName="compositeNode" presStyleCnt="0">
        <dgm:presLayoutVars>
          <dgm:bulletEnabled val="1"/>
        </dgm:presLayoutVars>
      </dgm:prSet>
      <dgm:spPr/>
    </dgm:pt>
    <dgm:pt modelId="{59B35F74-A851-48E9-AF8A-8BA5D4DFBE1A}" type="pres">
      <dgm:prSet presAssocID="{639607A9-95FD-4721-97AA-55BFFB4F94E2}" presName="image" presStyleLbl="fgImgPlace1" presStyleIdx="3" presStyleCnt="4" custLinFactNeighborX="-15741" custLinFactNeighborY="-6746"/>
      <dgm:spPr>
        <a:blipFill>
          <a:blip xmlns:r="http://schemas.openxmlformats.org/officeDocument/2006/relationships"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Растение"/>
        </a:ext>
      </dgm:extLst>
    </dgm:pt>
    <dgm:pt modelId="{27FF66BD-6518-4BDA-8AA2-7F132D4F0DFE}" type="pres">
      <dgm:prSet presAssocID="{639607A9-95FD-4721-97AA-55BFFB4F94E2}" presName="childNode" presStyleLbl="node1" presStyleIdx="3" presStyleCnt="4" custScaleX="206215" custLinFactNeighborX="15381" custLinFactNeighborY="-466">
        <dgm:presLayoutVars>
          <dgm:bulletEnabled val="1"/>
        </dgm:presLayoutVars>
      </dgm:prSet>
      <dgm:spPr/>
    </dgm:pt>
    <dgm:pt modelId="{15258F5D-6074-420D-BDAA-F0102C2AB8D7}" type="pres">
      <dgm:prSet presAssocID="{639607A9-95FD-4721-97AA-55BFFB4F94E2}" presName="parentNode" presStyleLbl="revTx" presStyleIdx="3" presStyleCnt="4" custLinFactX="-100000" custLinFactNeighborX="-141382" custLinFactNeighborY="435">
        <dgm:presLayoutVars>
          <dgm:chMax val="0"/>
          <dgm:bulletEnabled val="1"/>
        </dgm:presLayoutVars>
      </dgm:prSet>
      <dgm:spPr>
        <a:xfrm rot="16200000">
          <a:off x="5370830" y="2963982"/>
          <a:ext cx="4524628" cy="209597"/>
        </a:xfrm>
        <a:prstGeom prst="rect">
          <a:avLst/>
        </a:prstGeom>
      </dgm:spPr>
    </dgm:pt>
  </dgm:ptLst>
  <dgm:cxnLst>
    <dgm:cxn modelId="{29F43801-D993-4332-B914-BFE67B967580}" srcId="{4AE30D9A-3BD7-42DA-8444-ED811AF14051}" destId="{D0A82318-DB54-4C2E-AD39-230D2BAB6B60}" srcOrd="3" destOrd="0" parTransId="{E51769E5-1FD6-44D8-A6BC-5E6E9F1A9DDA}" sibTransId="{D4FF9523-64B7-4D5C-8EE1-354A8FA3B798}"/>
    <dgm:cxn modelId="{EA2FD103-A5E7-4001-8FAD-4CCBA8FDF445}" srcId="{2B211451-B3E3-4EAF-80C2-4A49C553278B}" destId="{2E036E73-E2F8-4188-A6B8-A2E8D75FA1C9}" srcOrd="13" destOrd="0" parTransId="{056E99EE-1D74-44B6-8438-19FAB1D91249}" sibTransId="{B136783A-FAA6-4BEF-BF7B-BFE8551C27D9}"/>
    <dgm:cxn modelId="{F4D17705-D6FA-48AD-8FA8-2BA36B1FA110}" type="presOf" srcId="{03A85739-9610-4268-8F67-5488EFDEBC9B}" destId="{68A20C4B-87E3-43FE-8EEF-4D1C0F6330FC}" srcOrd="0" destOrd="2" presId="urn:microsoft.com/office/officeart/2005/8/layout/hList2"/>
    <dgm:cxn modelId="{02C61907-5DBB-4F64-954D-834FC4BB5947}" srcId="{3CD21E66-9F8E-404A-98AB-2D362D16AE5F}" destId="{C348F196-DD62-4CDC-B3C6-7DAAF206EC5D}" srcOrd="6" destOrd="0" parTransId="{02BC9058-1389-440D-BED2-DA989C3D69D6}" sibTransId="{0C916CDB-0B2B-4F30-86B8-E0877334385D}"/>
    <dgm:cxn modelId="{CD05510E-6345-4D4A-B6DD-7553E092206A}" type="presOf" srcId="{C56A219C-ACDF-40A0-8F58-750A6C7F8DCC}" destId="{1AFA29BF-DE71-4F51-B2A8-0B97214BD412}" srcOrd="0" destOrd="12" presId="urn:microsoft.com/office/officeart/2005/8/layout/hList2"/>
    <dgm:cxn modelId="{5493760E-7471-4173-9036-61409ADC7E7C}" srcId="{4AE30D9A-3BD7-42DA-8444-ED811AF14051}" destId="{A2B6C82B-6B54-469F-925C-A0DDB6B795EC}" srcOrd="1" destOrd="0" parTransId="{4FEABE51-6DBA-4331-B84C-55D80C16903C}" sibTransId="{441629D2-0AA4-4F93-968F-BB3A9E32586D}"/>
    <dgm:cxn modelId="{7D7AB20E-5DC3-4F12-A68C-E62F5B67DAD2}" srcId="{3CD21E66-9F8E-404A-98AB-2D362D16AE5F}" destId="{FC61DD51-2994-46A2-A846-C1EB7338803D}" srcOrd="5" destOrd="0" parTransId="{7B567464-7367-4A59-8D0F-132CA3AC0140}" sibTransId="{47B98DCE-D92A-4C0F-89D6-2ADFA22BBA69}"/>
    <dgm:cxn modelId="{16FFE50E-2CDB-4A92-A8D4-D2F5DE8A41D5}" type="presOf" srcId="{EE5323E5-B686-4DC8-8488-CF57AB454ACE}" destId="{480BB637-4591-4405-B88B-AA447E7DF1E6}" srcOrd="0" destOrd="11" presId="urn:microsoft.com/office/officeart/2005/8/layout/hList2"/>
    <dgm:cxn modelId="{CCEDCD0F-11AD-4CC4-8D51-924F66BCD998}" srcId="{4AE30D9A-3BD7-42DA-8444-ED811AF14051}" destId="{C171F469-D430-4F2B-B365-A0A4697730B7}" srcOrd="11" destOrd="0" parTransId="{E3E15DC1-2FD1-45C8-93CD-BEC3C4ED510A}" sibTransId="{D0D06D59-13F8-497E-82A3-12AD94FF07B5}"/>
    <dgm:cxn modelId="{99D77A12-C53D-4CFA-8889-50913A5BE92B}" srcId="{3CD21E66-9F8E-404A-98AB-2D362D16AE5F}" destId="{D8EC31FB-B462-4A0F-B491-8E619AC59202}" srcOrd="3" destOrd="0" parTransId="{C3900389-09E5-4FA4-A073-6B57FD6B3D64}" sibTransId="{D1DCC86E-D467-4A10-BE11-083253710E66}"/>
    <dgm:cxn modelId="{066F8C13-7EBA-47E9-85AE-5A894D8B00DC}" type="presOf" srcId="{E23CFB3C-7F79-4FB1-BA57-8A0545AC322F}" destId="{27FF66BD-6518-4BDA-8AA2-7F132D4F0DFE}" srcOrd="0" destOrd="3" presId="urn:microsoft.com/office/officeart/2005/8/layout/hList2"/>
    <dgm:cxn modelId="{9BDE2414-1450-4CA2-8A24-F6EFAF0E2776}" srcId="{4AE30D9A-3BD7-42DA-8444-ED811AF14051}" destId="{F34A3B64-E886-473A-9771-E052ABD117EC}" srcOrd="14" destOrd="0" parTransId="{C37614EB-642B-4A4D-86C4-24FFE57FC9C7}" sibTransId="{4C164763-A466-40BC-9A44-1E3E18C10CAB}"/>
    <dgm:cxn modelId="{B7915D15-14F1-489C-A1FB-705044CF43CF}" srcId="{639607A9-95FD-4721-97AA-55BFFB4F94E2}" destId="{C669AA3F-1D13-428C-AE39-E1D1E48D7B34}" srcOrd="10" destOrd="0" parTransId="{492FD35A-F9F6-4C47-802F-7733B27DDE22}" sibTransId="{9E8FA93F-0650-464B-A654-44CC359FC3AF}"/>
    <dgm:cxn modelId="{86B07C1A-6FA0-4FDE-9317-9E0EA695A2F7}" type="presOf" srcId="{E356542A-006B-4A90-B2A3-95B1F24101C0}" destId="{27FF66BD-6518-4BDA-8AA2-7F132D4F0DFE}" srcOrd="0" destOrd="7" presId="urn:microsoft.com/office/officeart/2005/8/layout/hList2"/>
    <dgm:cxn modelId="{2226FB1A-DA93-47AD-94B6-ABE9B85962E9}" srcId="{639607A9-95FD-4721-97AA-55BFFB4F94E2}" destId="{DD411B60-C113-41E4-A13D-2718DB2E9227}" srcOrd="9" destOrd="0" parTransId="{98C54BC2-E4ED-4F84-84A4-2C0AAB0B179F}" sibTransId="{047AE81D-1176-4393-97A2-0DC9D3A8FB25}"/>
    <dgm:cxn modelId="{9233AF1F-D57D-407D-8F4D-3A01A420DA4D}" type="presOf" srcId="{CF448247-03F3-4DE3-8C25-AAD424486697}" destId="{1AFA29BF-DE71-4F51-B2A8-0B97214BD412}" srcOrd="0" destOrd="0" presId="urn:microsoft.com/office/officeart/2005/8/layout/hList2"/>
    <dgm:cxn modelId="{386D7C24-DE00-48B7-90E6-B225868950DA}" srcId="{639607A9-95FD-4721-97AA-55BFFB4F94E2}" destId="{1DA050A8-DD1E-4D6E-A822-4791CC85E72C}" srcOrd="1" destOrd="0" parTransId="{203E1ED3-B7F1-472B-B76E-5412FEE2AA16}" sibTransId="{6E1C59D4-2A13-4F45-BBC7-6E8D3AEF8454}"/>
    <dgm:cxn modelId="{801F7026-7D80-49BC-BAF2-9974DF177033}" type="presOf" srcId="{C06E402E-50AF-45EF-A33B-3C8F98302DB7}" destId="{1AFA29BF-DE71-4F51-B2A8-0B97214BD412}" srcOrd="0" destOrd="11" presId="urn:microsoft.com/office/officeart/2005/8/layout/hList2"/>
    <dgm:cxn modelId="{89216D29-1D4E-4D8A-997B-B664796FCCFC}" type="presOf" srcId="{63196A4E-E6B6-4D30-9FD5-A2A6A0B7C3F1}" destId="{27FF66BD-6518-4BDA-8AA2-7F132D4F0DFE}" srcOrd="0" destOrd="5" presId="urn:microsoft.com/office/officeart/2005/8/layout/hList2"/>
    <dgm:cxn modelId="{65FF6F2A-07E1-41FA-A50A-201CFD67F535}" srcId="{639607A9-95FD-4721-97AA-55BFFB4F94E2}" destId="{B44BCCF9-D59A-4290-8022-C210F8BD85CF}" srcOrd="6" destOrd="0" parTransId="{E7AFE584-5088-47DC-B917-8B8E07CE9718}" sibTransId="{A531A099-5CF6-48BD-B08E-CDC5CFAF7812}"/>
    <dgm:cxn modelId="{1CEE532E-8A50-4542-B9F3-1ED251810782}" srcId="{3CD21E66-9F8E-404A-98AB-2D362D16AE5F}" destId="{466090D7-869D-40D6-987D-243C8D8FB8BD}" srcOrd="2" destOrd="0" parTransId="{524C9D71-5C31-44A9-8E3F-AB4013C10A2C}" sibTransId="{B49285A4-CE1F-4F4E-BB9B-BEE272590A5F}"/>
    <dgm:cxn modelId="{8CCEEA30-03DB-4834-ACD2-83EFB522C28A}" srcId="{2B211451-B3E3-4EAF-80C2-4A49C553278B}" destId="{1B1BA66C-29E9-4E57-8AFB-9F37CF90D21E}" srcOrd="3" destOrd="0" parTransId="{15EEE30C-8553-429F-8EC2-37BA3EDEE4C4}" sibTransId="{8FEBB6AB-3CBA-414F-8438-3DFF35559DBF}"/>
    <dgm:cxn modelId="{2366E531-5A2E-4CEE-A6F1-2CE8849C0FEE}" type="presOf" srcId="{2B211451-B3E3-4EAF-80C2-4A49C553278B}" destId="{BF62E6C2-5AF9-4228-B979-FE2E3F968E31}" srcOrd="0" destOrd="0" presId="urn:microsoft.com/office/officeart/2005/8/layout/hList2"/>
    <dgm:cxn modelId="{2CFB5D33-0D0E-498B-AACA-7F7911963A38}" type="presOf" srcId="{BED54F47-5825-4093-96C6-5A258F3FDA1C}" destId="{1AFA29BF-DE71-4F51-B2A8-0B97214BD412}" srcOrd="0" destOrd="7" presId="urn:microsoft.com/office/officeart/2005/8/layout/hList2"/>
    <dgm:cxn modelId="{67F48134-D9EA-4222-A506-8BA30B40C3E3}" srcId="{639607A9-95FD-4721-97AA-55BFFB4F94E2}" destId="{E356542A-006B-4A90-B2A3-95B1F24101C0}" srcOrd="7" destOrd="0" parTransId="{F3B5F4B2-AE6C-4E55-9F7D-432E410B31B2}" sibTransId="{1F5548AE-3949-490A-9B24-4FD7368A5FBC}"/>
    <dgm:cxn modelId="{3B35BE36-1AFE-4AD4-A808-81A039640C5F}" type="presOf" srcId="{DD411B60-C113-41E4-A13D-2718DB2E9227}" destId="{27FF66BD-6518-4BDA-8AA2-7F132D4F0DFE}" srcOrd="0" destOrd="9" presId="urn:microsoft.com/office/officeart/2005/8/layout/hList2"/>
    <dgm:cxn modelId="{EB968E39-6EEA-412E-BA2A-47EC545E1CC3}" type="presOf" srcId="{B6DECC0A-802E-4A0E-8C9F-4F767CD22AAC}" destId="{68A20C4B-87E3-43FE-8EEF-4D1C0F6330FC}" srcOrd="0" destOrd="0" presId="urn:microsoft.com/office/officeart/2005/8/layout/hList2"/>
    <dgm:cxn modelId="{0C1A563B-93D1-4250-9D83-CED8950AB3C9}" srcId="{2B211451-B3E3-4EAF-80C2-4A49C553278B}" destId="{EE5323E5-B686-4DC8-8488-CF57AB454ACE}" srcOrd="11" destOrd="0" parTransId="{AD223197-816A-4052-9F1D-1E05E8351BBA}" sibTransId="{8AF5E1C3-2851-499E-A9F9-E66FB32051A3}"/>
    <dgm:cxn modelId="{3E1A8A3B-1883-4FE0-B5A4-7F3CE98EF013}" type="presOf" srcId="{37428D55-5D8F-45BA-B674-162C8F44F1AB}" destId="{68A20C4B-87E3-43FE-8EEF-4D1C0F6330FC}" srcOrd="0" destOrd="8" presId="urn:microsoft.com/office/officeart/2005/8/layout/hList2"/>
    <dgm:cxn modelId="{612A363C-1A09-4BC6-8326-CD5C3B7173D2}" srcId="{4AE30D9A-3BD7-42DA-8444-ED811AF14051}" destId="{41FDA859-200C-4E23-A123-9D9B8EEAD502}" srcOrd="10" destOrd="0" parTransId="{AABF4E76-8322-4DDE-BAF4-64F87FB5E96B}" sibTransId="{88C73B02-9B7C-449E-AE67-6D3C178C00B8}"/>
    <dgm:cxn modelId="{E9A03E3C-985B-48A5-B698-E0F23A8031E1}" srcId="{2B211451-B3E3-4EAF-80C2-4A49C553278B}" destId="{C818C8E4-369D-44DD-B810-1777D272DC76}" srcOrd="12" destOrd="0" parTransId="{BD04916C-06FA-4C12-BA2C-9C3431D4724B}" sibTransId="{4B2CF600-8CC1-4473-A147-16438FCBBC93}"/>
    <dgm:cxn modelId="{6C67853E-3BD6-4172-932B-C2EDD707C307}" srcId="{4AE30D9A-3BD7-42DA-8444-ED811AF14051}" destId="{939279DE-19ED-4A33-9A62-A9B9F169D2AE}" srcOrd="7" destOrd="0" parTransId="{C57B3B2F-C7DE-4AAF-9E09-3751C46C66C7}" sibTransId="{4153A550-0DA1-486E-A3A1-0BF8EB2A8F93}"/>
    <dgm:cxn modelId="{1BF3243F-691D-4D7E-B7F2-BDA5388AFBA5}" srcId="{2B211451-B3E3-4EAF-80C2-4A49C553278B}" destId="{E1659040-239A-45BA-AA7A-DD739F64671C}" srcOrd="8" destOrd="0" parTransId="{71E412C9-76B4-4205-B9D6-0EE3AACEEDB0}" sibTransId="{3DC439D1-2311-4C55-957B-1A522AB98137}"/>
    <dgm:cxn modelId="{E13EDE5B-1A0C-4293-8C60-6C0B742321E6}" srcId="{3CD21E66-9F8E-404A-98AB-2D362D16AE5F}" destId="{7BB30931-CBBB-48F5-9EEA-C7AC560FAAB4}" srcOrd="4" destOrd="0" parTransId="{B587EA72-D323-434E-BDAC-0328D906491F}" sibTransId="{199153C2-B556-409C-991E-15D13AEF340E}"/>
    <dgm:cxn modelId="{5AF9875D-AA12-4AA8-8E5E-2818B942A1EC}" srcId="{3CD21E66-9F8E-404A-98AB-2D362D16AE5F}" destId="{C06E402E-50AF-45EF-A33B-3C8F98302DB7}" srcOrd="11" destOrd="0" parTransId="{383E987D-1C84-4160-9AAA-861B8D5AF7AC}" sibTransId="{AC30964C-E117-4A82-AD40-8569C0D3B0A5}"/>
    <dgm:cxn modelId="{BE397861-AEC1-4562-AF75-3468EF51DF16}" srcId="{2B211451-B3E3-4EAF-80C2-4A49C553278B}" destId="{AFC7FD9E-06C1-4ADE-9E12-23331BB1CDB1}" srcOrd="10" destOrd="0" parTransId="{2AFF6A52-FDF6-4303-B65B-9FEF57913AE0}" sibTransId="{1359B8C2-480F-4B19-8113-8D6EC82F8CCA}"/>
    <dgm:cxn modelId="{E3339B41-32F9-454E-BAF2-8350ECCF56C3}" type="presOf" srcId="{3CD21E66-9F8E-404A-98AB-2D362D16AE5F}" destId="{5D90C623-2822-4E5C-BDD3-1577DF0942BA}" srcOrd="0" destOrd="0" presId="urn:microsoft.com/office/officeart/2005/8/layout/hList2"/>
    <dgm:cxn modelId="{1113E141-B0A4-4C29-BC6D-9C4A64E5DD29}" type="presOf" srcId="{56451E84-9017-4A3B-AB45-FFE63AD7A480}" destId="{68A20C4B-87E3-43FE-8EEF-4D1C0F6330FC}" srcOrd="0" destOrd="6" presId="urn:microsoft.com/office/officeart/2005/8/layout/hList2"/>
    <dgm:cxn modelId="{E774A562-FA29-40A5-B3CE-F84097DDE8CC}" srcId="{3CD21E66-9F8E-404A-98AB-2D362D16AE5F}" destId="{F519FF83-F056-4111-812C-333482C1C761}" srcOrd="1" destOrd="0" parTransId="{E3FD9A97-BE70-4E54-929A-56DF2794B18D}" sibTransId="{728C3688-D618-4FA3-879E-EBABC06A1171}"/>
    <dgm:cxn modelId="{1D474E63-CFB2-4665-BF72-65A8E7979E5F}" type="presOf" srcId="{466090D7-869D-40D6-987D-243C8D8FB8BD}" destId="{1AFA29BF-DE71-4F51-B2A8-0B97214BD412}" srcOrd="0" destOrd="2" presId="urn:microsoft.com/office/officeart/2005/8/layout/hList2"/>
    <dgm:cxn modelId="{EBA7F143-33A6-4F38-85C6-EDB4E83320BA}" type="presOf" srcId="{41FDA859-200C-4E23-A123-9D9B8EEAD502}" destId="{68A20C4B-87E3-43FE-8EEF-4D1C0F6330FC}" srcOrd="0" destOrd="10" presId="urn:microsoft.com/office/officeart/2005/8/layout/hList2"/>
    <dgm:cxn modelId="{EB303F65-BFEB-4629-A2CE-8E697B393BC8}" type="presOf" srcId="{F419AEC0-5DC8-47AD-9171-DE85FFC93502}" destId="{27FF66BD-6518-4BDA-8AA2-7F132D4F0DFE}" srcOrd="0" destOrd="13" presId="urn:microsoft.com/office/officeart/2005/8/layout/hList2"/>
    <dgm:cxn modelId="{6422F466-625E-4E23-B566-7D8764E340B7}" srcId="{639607A9-95FD-4721-97AA-55BFFB4F94E2}" destId="{4705697E-3A05-41C4-8276-58DB97896F6B}" srcOrd="0" destOrd="0" parTransId="{8582C9B7-E402-4917-A033-1F23FD5E9AB0}" sibTransId="{A5C0076E-69C6-4E59-BA23-D6293E2F2DF3}"/>
    <dgm:cxn modelId="{FACB1F47-7F54-4880-B025-1504460D08AF}" srcId="{2B211451-B3E3-4EAF-80C2-4A49C553278B}" destId="{088B9EE9-EC82-4710-AF32-88AEA71DCFAE}" srcOrd="7" destOrd="0" parTransId="{19107D3A-93D2-4341-8560-2EF38EFE7988}" sibTransId="{5842EC31-2B45-4B6C-9BF9-086292450720}"/>
    <dgm:cxn modelId="{94130248-0598-44AE-8544-792E6AE8C93D}" type="presOf" srcId="{558D1A80-C44D-4A1D-A9D8-D5F7780A73EE}" destId="{68A20C4B-87E3-43FE-8EEF-4D1C0F6330FC}" srcOrd="0" destOrd="9" presId="urn:microsoft.com/office/officeart/2005/8/layout/hList2"/>
    <dgm:cxn modelId="{F8E1CB49-5C8B-4598-B0F4-F3BC0A8E7556}" type="presOf" srcId="{25E14DB1-82D9-48B0-BE1E-0132FF92DEA0}" destId="{27FF66BD-6518-4BDA-8AA2-7F132D4F0DFE}" srcOrd="0" destOrd="11" presId="urn:microsoft.com/office/officeart/2005/8/layout/hList2"/>
    <dgm:cxn modelId="{601BA16B-95F7-483E-B3EA-4C7C4D9DD554}" type="presOf" srcId="{EDCDDEE5-2002-447A-8CC1-72F17504B136}" destId="{68A20C4B-87E3-43FE-8EEF-4D1C0F6330FC}" srcOrd="0" destOrd="5" presId="urn:microsoft.com/office/officeart/2005/8/layout/hList2"/>
    <dgm:cxn modelId="{C9DABE4B-5CAA-49D8-A1FA-C8D5063D4DCA}" srcId="{2B211451-B3E3-4EAF-80C2-4A49C553278B}" destId="{BFB54B05-E3C4-4F48-9329-F936F3F0D73E}" srcOrd="1" destOrd="0" parTransId="{D74CAF91-1706-4E38-8934-7CF483D371A3}" sibTransId="{96CC3CD9-4770-443E-ACCB-7E76FFA1709C}"/>
    <dgm:cxn modelId="{6EDA0E4C-2F28-4B35-9141-B88C440CE2C8}" type="presOf" srcId="{AE6972D0-6573-4912-862F-A00FFAAEF839}" destId="{27FF66BD-6518-4BDA-8AA2-7F132D4F0DFE}" srcOrd="0" destOrd="2" presId="urn:microsoft.com/office/officeart/2005/8/layout/hList2"/>
    <dgm:cxn modelId="{6C8DD64E-1FB6-48CD-9183-1E3AC3CFEED7}" type="presOf" srcId="{939279DE-19ED-4A33-9A62-A9B9F169D2AE}" destId="{68A20C4B-87E3-43FE-8EEF-4D1C0F6330FC}" srcOrd="0" destOrd="7" presId="urn:microsoft.com/office/officeart/2005/8/layout/hList2"/>
    <dgm:cxn modelId="{EC1CE16E-7959-4200-BD3E-5E16CF8D4618}" type="presOf" srcId="{4DDC6347-9BD6-4687-84F5-2E8985B749F2}" destId="{68A20C4B-87E3-43FE-8EEF-4D1C0F6330FC}" srcOrd="0" destOrd="4" presId="urn:microsoft.com/office/officeart/2005/8/layout/hList2"/>
    <dgm:cxn modelId="{54C5396F-1D8B-4D70-92CA-821484D70801}" type="presOf" srcId="{F34A3B64-E886-473A-9771-E052ABD117EC}" destId="{68A20C4B-87E3-43FE-8EEF-4D1C0F6330FC}" srcOrd="0" destOrd="14" presId="urn:microsoft.com/office/officeart/2005/8/layout/hList2"/>
    <dgm:cxn modelId="{3254666F-1B5D-4675-B567-3AFDC2279DBC}" type="presOf" srcId="{DF5FCF7F-F278-4F55-9F2B-1A141B10C0B1}" destId="{1AFA29BF-DE71-4F51-B2A8-0B97214BD412}" srcOrd="0" destOrd="8" presId="urn:microsoft.com/office/officeart/2005/8/layout/hList2"/>
    <dgm:cxn modelId="{CE5DA26F-E007-42B7-8D12-99922040035C}" srcId="{4AE30D9A-3BD7-42DA-8444-ED811AF14051}" destId="{CBA149D0-4E57-4EA8-98A2-AF527DDDABB9}" srcOrd="13" destOrd="0" parTransId="{505C484E-7B9C-4697-B043-3DEC6A428E49}" sibTransId="{FA11C90E-1102-4934-AFB4-20AF2DE7671C}"/>
    <dgm:cxn modelId="{85521570-21C8-435F-BB03-375FEF26E0AD}" srcId="{2B211451-B3E3-4EAF-80C2-4A49C553278B}" destId="{276BCB9A-CEBE-42F3-8295-4BE97D0299A2}" srcOrd="9" destOrd="0" parTransId="{17721C8F-3F85-4056-AE7A-A0BCCD50A221}" sibTransId="{73CCAC70-795F-4229-9684-B1BC6727C29F}"/>
    <dgm:cxn modelId="{3F413871-9E0E-4E11-ADF3-FB5C4765ABFD}" type="presOf" srcId="{C818C8E4-369D-44DD-B810-1777D272DC76}" destId="{480BB637-4591-4405-B88B-AA447E7DF1E6}" srcOrd="0" destOrd="12" presId="urn:microsoft.com/office/officeart/2005/8/layout/hList2"/>
    <dgm:cxn modelId="{D12EDF72-9921-4838-AEB8-7AFD41700C01}" srcId="{639607A9-95FD-4721-97AA-55BFFB4F94E2}" destId="{AE6972D0-6573-4912-862F-A00FFAAEF839}" srcOrd="2" destOrd="0" parTransId="{BC90BBFD-B7A2-42A7-B3A9-D29EE0326E03}" sibTransId="{320F98B7-E368-4735-9817-85FB903D31FE}"/>
    <dgm:cxn modelId="{2E011E53-B185-47F3-B34D-93C94DC35A3A}" srcId="{4AE30D9A-3BD7-42DA-8444-ED811AF14051}" destId="{4DDC6347-9BD6-4687-84F5-2E8985B749F2}" srcOrd="4" destOrd="0" parTransId="{8D74E005-6778-4003-97ED-D264801C5D60}" sibTransId="{9207E08F-C684-4CF3-8434-9521605C688B}"/>
    <dgm:cxn modelId="{DB1F6673-0874-435E-BE96-7F98655D3FD0}" srcId="{639607A9-95FD-4721-97AA-55BFFB4F94E2}" destId="{F419AEC0-5DC8-47AD-9171-DE85FFC93502}" srcOrd="13" destOrd="0" parTransId="{5B958EFC-2E83-4232-BE6D-EB3600E1AC83}" sibTransId="{2492D2EC-56D5-4EB3-B6F1-8506A7FFB6A6}"/>
    <dgm:cxn modelId="{7B77DF54-DD91-44DF-8A6A-3CB15D01C62C}" type="presOf" srcId="{088B9EE9-EC82-4710-AF32-88AEA71DCFAE}" destId="{480BB637-4591-4405-B88B-AA447E7DF1E6}" srcOrd="0" destOrd="7" presId="urn:microsoft.com/office/officeart/2005/8/layout/hList2"/>
    <dgm:cxn modelId="{A2380555-023B-400A-B05A-FDF88487892F}" type="presOf" srcId="{2E036E73-E2F8-4188-A6B8-A2E8D75FA1C9}" destId="{480BB637-4591-4405-B88B-AA447E7DF1E6}" srcOrd="0" destOrd="13" presId="urn:microsoft.com/office/officeart/2005/8/layout/hList2"/>
    <dgm:cxn modelId="{8A890F78-7A21-4C39-9CDD-2F3BC95753A2}" type="presOf" srcId="{C171F469-D430-4F2B-B365-A0A4697730B7}" destId="{68A20C4B-87E3-43FE-8EEF-4D1C0F6330FC}" srcOrd="0" destOrd="11" presId="urn:microsoft.com/office/officeart/2005/8/layout/hList2"/>
    <dgm:cxn modelId="{6EF8BA78-D23A-42D3-AFA1-DADE2863B51E}" srcId="{3CD21E66-9F8E-404A-98AB-2D362D16AE5F}" destId="{9CD19027-A9D9-4E92-9E74-9E3281BC0A59}" srcOrd="13" destOrd="0" parTransId="{F7B7402E-558B-46CD-A812-CB7DEA3EB0A8}" sibTransId="{429DF58D-BAB0-4E15-A564-EFEEE2CA71A2}"/>
    <dgm:cxn modelId="{BCB4C859-2494-45EB-AC62-109E18A75EE5}" srcId="{2B211451-B3E3-4EAF-80C2-4A49C553278B}" destId="{AF18F0B5-69BA-4E3F-BEDB-18D762FE18C8}" srcOrd="4" destOrd="0" parTransId="{2482345D-2ECE-4CA0-9B21-34C10AB9FC93}" sibTransId="{B924AABC-9290-443A-88B3-269169C8C380}"/>
    <dgm:cxn modelId="{B2B8017B-0528-45C0-BB40-02A4B1F4B7B8}" type="presOf" srcId="{FC61DD51-2994-46A2-A846-C1EB7338803D}" destId="{1AFA29BF-DE71-4F51-B2A8-0B97214BD412}" srcOrd="0" destOrd="5" presId="urn:microsoft.com/office/officeart/2005/8/layout/hList2"/>
    <dgm:cxn modelId="{233C867C-F389-414A-A87E-57097CFF29D3}" type="presOf" srcId="{AA96B85D-F6D2-4F76-A862-C063F0AAFF73}" destId="{480BB637-4591-4405-B88B-AA447E7DF1E6}" srcOrd="0" destOrd="5" presId="urn:microsoft.com/office/officeart/2005/8/layout/hList2"/>
    <dgm:cxn modelId="{CB3DBF7E-3240-443B-81BE-365FB467D84E}" srcId="{3CD21E66-9F8E-404A-98AB-2D362D16AE5F}" destId="{BED54F47-5825-4093-96C6-5A258F3FDA1C}" srcOrd="7" destOrd="0" parTransId="{1137419A-7412-445C-8DF9-DEF34FB2BFC6}" sibTransId="{E32A147C-5609-4A8E-A5B5-FCFCA90F4D33}"/>
    <dgm:cxn modelId="{427FC580-0CD4-40A2-AC40-6F94FDF5EA3E}" srcId="{639607A9-95FD-4721-97AA-55BFFB4F94E2}" destId="{E61DA0D3-A82F-47CE-B617-89843F4E47FE}" srcOrd="8" destOrd="0" parTransId="{6C062A0E-B513-4F06-B4D6-F607992BE6AE}" sibTransId="{A1AE3C62-567F-4A06-BD02-9B9864747890}"/>
    <dgm:cxn modelId="{DD42D280-3F2C-4E7A-98B7-6EF1AADDDD08}" type="presOf" srcId="{276BCB9A-CEBE-42F3-8295-4BE97D0299A2}" destId="{480BB637-4591-4405-B88B-AA447E7DF1E6}" srcOrd="0" destOrd="9" presId="urn:microsoft.com/office/officeart/2005/8/layout/hList2"/>
    <dgm:cxn modelId="{0CE9E780-1225-4658-A153-E850BDC1867F}" type="presOf" srcId="{C08FFB42-CCB6-4C50-ADDC-CB2664882247}" destId="{27FF66BD-6518-4BDA-8AA2-7F132D4F0DFE}" srcOrd="0" destOrd="4" presId="urn:microsoft.com/office/officeart/2005/8/layout/hList2"/>
    <dgm:cxn modelId="{A4C7AD81-56A6-4B86-BEEA-05652C991C1B}" type="presOf" srcId="{F519FF83-F056-4111-812C-333482C1C761}" destId="{1AFA29BF-DE71-4F51-B2A8-0B97214BD412}" srcOrd="0" destOrd="1" presId="urn:microsoft.com/office/officeart/2005/8/layout/hList2"/>
    <dgm:cxn modelId="{189FA882-7399-4B6D-9259-5E606126814A}" srcId="{3CD21E66-9F8E-404A-98AB-2D362D16AE5F}" destId="{CF448247-03F3-4DE3-8C25-AAD424486697}" srcOrd="0" destOrd="0" parTransId="{82DD33A0-7BBD-40A5-B870-2CB769B78922}" sibTransId="{A0373FBC-FB9F-499D-9A4D-6C7179D30C36}"/>
    <dgm:cxn modelId="{F70E1789-8CE7-40F9-9C87-CD2D25548FEB}" srcId="{3CD21E66-9F8E-404A-98AB-2D362D16AE5F}" destId="{D36E0033-D8C7-44A8-8AC8-960686ED6B21}" srcOrd="9" destOrd="0" parTransId="{39B25CBF-3E90-4D5C-A786-02A56D035E7F}" sibTransId="{3A0EEDE7-61F5-4830-80C1-F45E71B60FE1}"/>
    <dgm:cxn modelId="{0C82C48D-CFD4-4B04-94DD-820D0EA273BE}" type="presOf" srcId="{AF18F0B5-69BA-4E3F-BEDB-18D762FE18C8}" destId="{480BB637-4591-4405-B88B-AA447E7DF1E6}" srcOrd="0" destOrd="4" presId="urn:microsoft.com/office/officeart/2005/8/layout/hList2"/>
    <dgm:cxn modelId="{7A95DA8D-5FB7-47D0-B110-36E2228020D7}" srcId="{639607A9-95FD-4721-97AA-55BFFB4F94E2}" destId="{25E14DB1-82D9-48B0-BE1E-0132FF92DEA0}" srcOrd="11" destOrd="0" parTransId="{04B8FAC8-6FDA-4A04-8F81-DBCA769AA02D}" sibTransId="{8A426CA8-CF69-4057-AFF6-17DDBF79509E}"/>
    <dgm:cxn modelId="{E6B91D92-5A56-4285-829C-5652F919FA97}" srcId="{2B211451-B3E3-4EAF-80C2-4A49C553278B}" destId="{C51BF4DD-5422-413E-BD11-27C278C9E63A}" srcOrd="2" destOrd="0" parTransId="{D564FE59-F8EC-4340-B609-89979BEE3150}" sibTransId="{F973FC0B-A506-4074-83B5-94AAB8BF0B7F}"/>
    <dgm:cxn modelId="{168F1A94-6983-45A0-A0CB-5D90DE7512E0}" srcId="{4AE30D9A-3BD7-42DA-8444-ED811AF14051}" destId="{03A85739-9610-4268-8F67-5488EFDEBC9B}" srcOrd="2" destOrd="0" parTransId="{5CDB0C7F-CC55-43AC-AFE9-1B6BC7668D4A}" sibTransId="{D85C54FD-C83F-4171-B90A-7861BF75DF52}"/>
    <dgm:cxn modelId="{2786B894-07AB-499D-A4A3-209A8C32F808}" srcId="{639607A9-95FD-4721-97AA-55BFFB4F94E2}" destId="{4668F902-6B68-46B9-95D2-1C38116BDF5C}" srcOrd="12" destOrd="0" parTransId="{C1905D88-34F9-46F5-8961-DAE8E8063415}" sibTransId="{3D3C3270-E5C1-46F4-81ED-470D84F36DA0}"/>
    <dgm:cxn modelId="{16AA3295-40DE-4FFC-ACEC-FC9358B6DF5E}" type="presOf" srcId="{C0429A1F-E267-40DF-8ED0-0C7ACEAEB31D}" destId="{68A20C4B-87E3-43FE-8EEF-4D1C0F6330FC}" srcOrd="0" destOrd="12" presId="urn:microsoft.com/office/officeart/2005/8/layout/hList2"/>
    <dgm:cxn modelId="{B6994996-0DD3-4D50-8821-74CD49C196DF}" type="presOf" srcId="{4705697E-3A05-41C4-8276-58DB97896F6B}" destId="{27FF66BD-6518-4BDA-8AA2-7F132D4F0DFE}" srcOrd="0" destOrd="0" presId="urn:microsoft.com/office/officeart/2005/8/layout/hList2"/>
    <dgm:cxn modelId="{2FC26E98-D73C-4FDD-854B-A371272DC4A6}" srcId="{4AE30D9A-3BD7-42DA-8444-ED811AF14051}" destId="{C0429A1F-E267-40DF-8ED0-0C7ACEAEB31D}" srcOrd="12" destOrd="0" parTransId="{1B8F5C34-1718-4489-811D-CB08F334455D}" sibTransId="{1DF34D7D-9A75-43D3-A228-814CBF2EE0FB}"/>
    <dgm:cxn modelId="{F8DFAD9A-502B-41FB-A192-BEB73E9F21B3}" srcId="{2B211451-B3E3-4EAF-80C2-4A49C553278B}" destId="{202CCABC-E75C-4232-A28B-881D31DBB83F}" srcOrd="6" destOrd="0" parTransId="{B9110EFC-FB1E-4C57-98E5-72AB7ABE42A3}" sibTransId="{BBFF2E58-3D5D-4E4E-A02A-E9FC0F002B7E}"/>
    <dgm:cxn modelId="{80377C9B-362D-4A31-A0AE-7433FA722EA7}" srcId="{4AE30D9A-3BD7-42DA-8444-ED811AF14051}" destId="{56451E84-9017-4A3B-AB45-FFE63AD7A480}" srcOrd="6" destOrd="0" parTransId="{A141772E-5103-4049-94D6-0D91E79E9BF8}" sibTransId="{7DF8A9C9-B3C4-4D1A-941B-B1290BD16A7C}"/>
    <dgm:cxn modelId="{A824E99B-E3DD-4924-BD2D-9A0B9302D06F}" srcId="{2B211451-B3E3-4EAF-80C2-4A49C553278B}" destId="{960BFAB2-F0DE-41E6-8FBE-F638AB829A34}" srcOrd="0" destOrd="0" parTransId="{B50AD10B-C399-41C3-99E6-C0480A564DCE}" sibTransId="{F8B6D7F0-476A-4CEF-9E8F-4CEC3F74C54D}"/>
    <dgm:cxn modelId="{0451719D-41DE-4FF2-BB1E-ACB18DAEB696}" type="presOf" srcId="{E61DA0D3-A82F-47CE-B617-89843F4E47FE}" destId="{27FF66BD-6518-4BDA-8AA2-7F132D4F0DFE}" srcOrd="0" destOrd="8" presId="urn:microsoft.com/office/officeart/2005/8/layout/hList2"/>
    <dgm:cxn modelId="{85EC279E-AD2D-43F3-8400-B99345BD4CFF}" type="presOf" srcId="{CBA149D0-4E57-4EA8-98A2-AF527DDDABB9}" destId="{68A20C4B-87E3-43FE-8EEF-4D1C0F6330FC}" srcOrd="0" destOrd="13" presId="urn:microsoft.com/office/officeart/2005/8/layout/hList2"/>
    <dgm:cxn modelId="{DA31259F-4273-4E09-B49D-3BE6AA3D769D}" type="presOf" srcId="{B83024F0-35D1-4C66-9B63-44F59109BE9D}" destId="{30E2EB2C-6E77-4DF5-9D60-5A01818B0DFA}" srcOrd="0" destOrd="0" presId="urn:microsoft.com/office/officeart/2005/8/layout/hList2"/>
    <dgm:cxn modelId="{68E19F9F-DA54-4640-951D-2BBCE26522B5}" type="presOf" srcId="{BFB54B05-E3C4-4F48-9329-F936F3F0D73E}" destId="{480BB637-4591-4405-B88B-AA447E7DF1E6}" srcOrd="0" destOrd="1" presId="urn:microsoft.com/office/officeart/2005/8/layout/hList2"/>
    <dgm:cxn modelId="{318A5BA1-44C0-4BDB-B989-69AFDB48C315}" srcId="{B83024F0-35D1-4C66-9B63-44F59109BE9D}" destId="{639607A9-95FD-4721-97AA-55BFFB4F94E2}" srcOrd="3" destOrd="0" parTransId="{50CC8AF6-4B91-4D33-9DD6-FAB195B20FE8}" sibTransId="{D6762221-604E-4065-9A99-22315F8ADB14}"/>
    <dgm:cxn modelId="{A3A79AA2-674C-4C8F-BA36-D38DEF71721B}" srcId="{4AE30D9A-3BD7-42DA-8444-ED811AF14051}" destId="{EDCDDEE5-2002-447A-8CC1-72F17504B136}" srcOrd="5" destOrd="0" parTransId="{F5689490-5845-4EF3-9AF8-CEA5ADC3A37D}" sibTransId="{B3A9385C-98BD-4406-9041-65EA97F4428E}"/>
    <dgm:cxn modelId="{39419CA3-11E6-4B39-B207-6A56DB349352}" type="presOf" srcId="{960BFAB2-F0DE-41E6-8FBE-F638AB829A34}" destId="{480BB637-4591-4405-B88B-AA447E7DF1E6}" srcOrd="0" destOrd="0" presId="urn:microsoft.com/office/officeart/2005/8/layout/hList2"/>
    <dgm:cxn modelId="{C434ACA9-1F97-4356-84AA-6174FB83050D}" type="presOf" srcId="{B44BCCF9-D59A-4290-8022-C210F8BD85CF}" destId="{27FF66BD-6518-4BDA-8AA2-7F132D4F0DFE}" srcOrd="0" destOrd="6" presId="urn:microsoft.com/office/officeart/2005/8/layout/hList2"/>
    <dgm:cxn modelId="{AC446EAE-CD63-4DA3-A42A-68F60C06A8F6}" type="presOf" srcId="{C51BF4DD-5422-413E-BD11-27C278C9E63A}" destId="{480BB637-4591-4405-B88B-AA447E7DF1E6}" srcOrd="0" destOrd="2" presId="urn:microsoft.com/office/officeart/2005/8/layout/hList2"/>
    <dgm:cxn modelId="{E8C243AF-5693-4D37-A9C1-5B2B59F4BC6F}" type="presOf" srcId="{7BB30931-CBBB-48F5-9EEA-C7AC560FAAB4}" destId="{1AFA29BF-DE71-4F51-B2A8-0B97214BD412}" srcOrd="0" destOrd="4" presId="urn:microsoft.com/office/officeart/2005/8/layout/hList2"/>
    <dgm:cxn modelId="{4C8306B2-8413-4E44-9C99-1AA6CCCCD6E9}" srcId="{3CD21E66-9F8E-404A-98AB-2D362D16AE5F}" destId="{CEA842CB-27FC-47A9-B7BC-726D3FEE8D9F}" srcOrd="10" destOrd="0" parTransId="{11ABD6C7-D6AC-4E24-B5B9-417A40385CAB}" sibTransId="{A507C27A-20F0-43A3-9FB1-6A89276DC5DE}"/>
    <dgm:cxn modelId="{8A36CAB4-DC9D-4C7F-94B3-C7DF5E459A09}" srcId="{B83024F0-35D1-4C66-9B63-44F59109BE9D}" destId="{2B211451-B3E3-4EAF-80C2-4A49C553278B}" srcOrd="0" destOrd="0" parTransId="{32378D46-8BAC-4CF8-9FD3-C374E2F2228D}" sibTransId="{30F157E8-1DE0-44F9-8195-A178A09D3E2C}"/>
    <dgm:cxn modelId="{53525CB9-6375-4E66-935F-F00A52ADFBA4}" srcId="{B83024F0-35D1-4C66-9B63-44F59109BE9D}" destId="{3CD21E66-9F8E-404A-98AB-2D362D16AE5F}" srcOrd="1" destOrd="0" parTransId="{3584E431-3785-45CE-B94C-B84BC59127EA}" sibTransId="{B491A2BC-3B64-4327-9357-175CCD064B1F}"/>
    <dgm:cxn modelId="{20E29EB9-11D6-4278-9254-755FF5EBE2FC}" type="presOf" srcId="{1B1BA66C-29E9-4E57-8AFB-9F37CF90D21E}" destId="{480BB637-4591-4405-B88B-AA447E7DF1E6}" srcOrd="0" destOrd="3" presId="urn:microsoft.com/office/officeart/2005/8/layout/hList2"/>
    <dgm:cxn modelId="{BF4650BB-EAFB-4F74-9373-ACE66DA8D60A}" srcId="{3CD21E66-9F8E-404A-98AB-2D362D16AE5F}" destId="{DF5FCF7F-F278-4F55-9F2B-1A141B10C0B1}" srcOrd="8" destOrd="0" parTransId="{B3FC7120-B1D9-4198-8A22-6141ACB75AD8}" sibTransId="{1BDDBB9D-9482-48FB-B5F5-B8A93F559157}"/>
    <dgm:cxn modelId="{F985F9BE-694E-44F5-8F0C-43C78CDF2A2B}" type="presOf" srcId="{D36E0033-D8C7-44A8-8AC8-960686ED6B21}" destId="{1AFA29BF-DE71-4F51-B2A8-0B97214BD412}" srcOrd="0" destOrd="9" presId="urn:microsoft.com/office/officeart/2005/8/layout/hList2"/>
    <dgm:cxn modelId="{04B8C7BF-83FC-48BB-AD1F-FF508D1F1230}" srcId="{4AE30D9A-3BD7-42DA-8444-ED811AF14051}" destId="{B6DECC0A-802E-4A0E-8C9F-4F767CD22AAC}" srcOrd="0" destOrd="0" parTransId="{6AFDD14D-E0FC-4444-A027-E6486E06D458}" sibTransId="{3CBF3C9C-E60F-4152-BFE6-A93F129DB0E2}"/>
    <dgm:cxn modelId="{6DF035C0-094C-4439-B2AA-E4C4C934CE91}" type="presOf" srcId="{4668F902-6B68-46B9-95D2-1C38116BDF5C}" destId="{27FF66BD-6518-4BDA-8AA2-7F132D4F0DFE}" srcOrd="0" destOrd="12" presId="urn:microsoft.com/office/officeart/2005/8/layout/hList2"/>
    <dgm:cxn modelId="{FC956DC0-8732-4130-8363-A33FB303F23F}" type="presOf" srcId="{9CD19027-A9D9-4E92-9E74-9E3281BC0A59}" destId="{1AFA29BF-DE71-4F51-B2A8-0B97214BD412}" srcOrd="0" destOrd="13" presId="urn:microsoft.com/office/officeart/2005/8/layout/hList2"/>
    <dgm:cxn modelId="{54A5EFC1-D4C3-47F9-A1D2-25A620957E87}" srcId="{639607A9-95FD-4721-97AA-55BFFB4F94E2}" destId="{E23CFB3C-7F79-4FB1-BA57-8A0545AC322F}" srcOrd="3" destOrd="0" parTransId="{81E85CA9-AA05-45C8-8CE4-FDC1469A6939}" sibTransId="{60750BF5-C861-41B5-9582-ECFA1D38F906}"/>
    <dgm:cxn modelId="{EE50E7C4-38A7-465F-9EF5-BE242D54B758}" srcId="{B83024F0-35D1-4C66-9B63-44F59109BE9D}" destId="{4AE30D9A-3BD7-42DA-8444-ED811AF14051}" srcOrd="2" destOrd="0" parTransId="{D7364E44-FA46-4FEA-8C34-3D13E85B48E2}" sibTransId="{A3F8CE55-5933-4638-B58E-AB5256CAF3DE}"/>
    <dgm:cxn modelId="{162AB2C7-4446-4418-A8E9-9C3A5D0BB9B8}" srcId="{2B211451-B3E3-4EAF-80C2-4A49C553278B}" destId="{AA96B85D-F6D2-4F76-A862-C063F0AAFF73}" srcOrd="5" destOrd="0" parTransId="{6EA8B73F-8B7D-43EF-9B50-4B509D765177}" sibTransId="{64EF5E71-3C2A-464D-A832-606B244BB1DB}"/>
    <dgm:cxn modelId="{E452ECC9-0DA0-4765-BC82-9597AFF7FD2F}" type="presOf" srcId="{D8EC31FB-B462-4A0F-B491-8E619AC59202}" destId="{1AFA29BF-DE71-4F51-B2A8-0B97214BD412}" srcOrd="0" destOrd="3" presId="urn:microsoft.com/office/officeart/2005/8/layout/hList2"/>
    <dgm:cxn modelId="{DC114FCC-5DCD-42E0-9C72-986560A25151}" type="presOf" srcId="{CEA842CB-27FC-47A9-B7BC-726D3FEE8D9F}" destId="{1AFA29BF-DE71-4F51-B2A8-0B97214BD412}" srcOrd="0" destOrd="10" presId="urn:microsoft.com/office/officeart/2005/8/layout/hList2"/>
    <dgm:cxn modelId="{40CC37CD-4332-473A-BAD2-39268D78D5A5}" type="presOf" srcId="{202CCABC-E75C-4232-A28B-881D31DBB83F}" destId="{480BB637-4591-4405-B88B-AA447E7DF1E6}" srcOrd="0" destOrd="6" presId="urn:microsoft.com/office/officeart/2005/8/layout/hList2"/>
    <dgm:cxn modelId="{72ED10D1-370C-448B-9F88-D787D9A28DDC}" type="presOf" srcId="{E1659040-239A-45BA-AA7A-DD739F64671C}" destId="{480BB637-4591-4405-B88B-AA447E7DF1E6}" srcOrd="0" destOrd="8" presId="urn:microsoft.com/office/officeart/2005/8/layout/hList2"/>
    <dgm:cxn modelId="{3A7C7FD1-9ED7-47CF-8288-B7CDEBC04A07}" srcId="{4AE30D9A-3BD7-42DA-8444-ED811AF14051}" destId="{558D1A80-C44D-4A1D-A9D8-D5F7780A73EE}" srcOrd="9" destOrd="0" parTransId="{0A6380CF-2856-4D80-94FA-C323BB70F1C3}" sibTransId="{F97760B2-0044-44EA-B7B4-83A59AEA4840}"/>
    <dgm:cxn modelId="{FD09A3D1-317D-47C0-ABE7-DA8E5F3A1220}" type="presOf" srcId="{1DA050A8-DD1E-4D6E-A822-4791CC85E72C}" destId="{27FF66BD-6518-4BDA-8AA2-7F132D4F0DFE}" srcOrd="0" destOrd="1" presId="urn:microsoft.com/office/officeart/2005/8/layout/hList2"/>
    <dgm:cxn modelId="{EFAB52D5-821F-450B-BE32-CA79F7651196}" srcId="{639607A9-95FD-4721-97AA-55BFFB4F94E2}" destId="{C08FFB42-CCB6-4C50-ADDC-CB2664882247}" srcOrd="4" destOrd="0" parTransId="{7BFFB28E-2767-49BD-B00A-650E5060C993}" sibTransId="{47C53087-1896-42B9-8C81-02B85B236F07}"/>
    <dgm:cxn modelId="{ACEBFFD8-298E-4A9A-A372-C96980ECDB01}" type="presOf" srcId="{D0A82318-DB54-4C2E-AD39-230D2BAB6B60}" destId="{68A20C4B-87E3-43FE-8EEF-4D1C0F6330FC}" srcOrd="0" destOrd="3" presId="urn:microsoft.com/office/officeart/2005/8/layout/hList2"/>
    <dgm:cxn modelId="{AE0F7FD9-9913-4F54-81B2-E03C8D0FC80A}" type="presOf" srcId="{639607A9-95FD-4721-97AA-55BFFB4F94E2}" destId="{15258F5D-6074-420D-BDAA-F0102C2AB8D7}" srcOrd="0" destOrd="0" presId="urn:microsoft.com/office/officeart/2005/8/layout/hList2"/>
    <dgm:cxn modelId="{C09E73E8-A8F6-4A9C-BEE9-546763077418}" type="presOf" srcId="{AFC7FD9E-06C1-4ADE-9E12-23331BB1CDB1}" destId="{480BB637-4591-4405-B88B-AA447E7DF1E6}" srcOrd="0" destOrd="10" presId="urn:microsoft.com/office/officeart/2005/8/layout/hList2"/>
    <dgm:cxn modelId="{87A0C3E8-A643-4DDB-955E-5FEB15152A3E}" srcId="{3CD21E66-9F8E-404A-98AB-2D362D16AE5F}" destId="{C56A219C-ACDF-40A0-8F58-750A6C7F8DCC}" srcOrd="12" destOrd="0" parTransId="{E6787251-A239-471F-860A-4B8AC27870F1}" sibTransId="{5CE494FB-8CFC-44A6-BDBF-2FD34F76D279}"/>
    <dgm:cxn modelId="{CAD9FDED-BD14-4285-8F80-34C981607BF3}" type="presOf" srcId="{A2B6C82B-6B54-469F-925C-A0DDB6B795EC}" destId="{68A20C4B-87E3-43FE-8EEF-4D1C0F6330FC}" srcOrd="0" destOrd="1" presId="urn:microsoft.com/office/officeart/2005/8/layout/hList2"/>
    <dgm:cxn modelId="{F6E868EF-8C97-4B33-B911-1E2F89EC9683}" type="presOf" srcId="{C669AA3F-1D13-428C-AE39-E1D1E48D7B34}" destId="{27FF66BD-6518-4BDA-8AA2-7F132D4F0DFE}" srcOrd="0" destOrd="10" presId="urn:microsoft.com/office/officeart/2005/8/layout/hList2"/>
    <dgm:cxn modelId="{A447B5EF-CFAA-49FF-BE37-44CEBCA17645}" type="presOf" srcId="{C348F196-DD62-4CDC-B3C6-7DAAF206EC5D}" destId="{1AFA29BF-DE71-4F51-B2A8-0B97214BD412}" srcOrd="0" destOrd="6" presId="urn:microsoft.com/office/officeart/2005/8/layout/hList2"/>
    <dgm:cxn modelId="{9E74B8F2-1D84-4F90-AA8C-EA8603396C7A}" srcId="{639607A9-95FD-4721-97AA-55BFFB4F94E2}" destId="{63196A4E-E6B6-4D30-9FD5-A2A6A0B7C3F1}" srcOrd="5" destOrd="0" parTransId="{2FA507A3-725E-4411-9F88-228065FF4FC0}" sibTransId="{C9EF7CC1-387C-4701-882D-F7FC1E63320C}"/>
    <dgm:cxn modelId="{7CB4BFF2-23D1-4986-A70C-E4138FA8E10C}" type="presOf" srcId="{4AE30D9A-3BD7-42DA-8444-ED811AF14051}" destId="{75707ECB-889B-44DE-BCA0-37C1D5649F08}" srcOrd="0" destOrd="0" presId="urn:microsoft.com/office/officeart/2005/8/layout/hList2"/>
    <dgm:cxn modelId="{AAA13DF3-ADB9-402C-80F1-ECE40ED4CA30}" srcId="{4AE30D9A-3BD7-42DA-8444-ED811AF14051}" destId="{37428D55-5D8F-45BA-B674-162C8F44F1AB}" srcOrd="8" destOrd="0" parTransId="{3CCCA15C-B4A2-469E-AB09-4B7D8982EF2A}" sibTransId="{2CB94EBB-B090-452B-B4F5-001867A3D7F2}"/>
    <dgm:cxn modelId="{88072446-FC0D-4548-A37A-D4421CAB24D7}" type="presParOf" srcId="{30E2EB2C-6E77-4DF5-9D60-5A01818B0DFA}" destId="{E0F230DD-317C-400B-B578-BB8F63FD32CB}" srcOrd="0" destOrd="0" presId="urn:microsoft.com/office/officeart/2005/8/layout/hList2"/>
    <dgm:cxn modelId="{417E58C0-DFD8-48CF-8BFC-A348A38478D6}" type="presParOf" srcId="{E0F230DD-317C-400B-B578-BB8F63FD32CB}" destId="{26B0028F-52F7-4529-9A45-51EBB4CC15CA}" srcOrd="0" destOrd="0" presId="urn:microsoft.com/office/officeart/2005/8/layout/hList2"/>
    <dgm:cxn modelId="{EDF43B1A-FF47-4C91-AEDB-3E8C4CD809D8}" type="presParOf" srcId="{E0F230DD-317C-400B-B578-BB8F63FD32CB}" destId="{480BB637-4591-4405-B88B-AA447E7DF1E6}" srcOrd="1" destOrd="0" presId="urn:microsoft.com/office/officeart/2005/8/layout/hList2"/>
    <dgm:cxn modelId="{44ABB4CF-C988-4D60-AFFB-0517D2631787}" type="presParOf" srcId="{E0F230DD-317C-400B-B578-BB8F63FD32CB}" destId="{BF62E6C2-5AF9-4228-B979-FE2E3F968E31}" srcOrd="2" destOrd="0" presId="urn:microsoft.com/office/officeart/2005/8/layout/hList2"/>
    <dgm:cxn modelId="{21E20ED5-B1C4-49C5-A1D6-9E7519E25431}" type="presParOf" srcId="{30E2EB2C-6E77-4DF5-9D60-5A01818B0DFA}" destId="{D514F03A-BF27-489B-A0E8-DA50A4FD4393}" srcOrd="1" destOrd="0" presId="urn:microsoft.com/office/officeart/2005/8/layout/hList2"/>
    <dgm:cxn modelId="{659639B6-5E9E-4ED0-8CC4-529E04967F2B}" type="presParOf" srcId="{30E2EB2C-6E77-4DF5-9D60-5A01818B0DFA}" destId="{74EA4E87-81F7-4B53-91E9-6B0299BB8F9D}" srcOrd="2" destOrd="0" presId="urn:microsoft.com/office/officeart/2005/8/layout/hList2"/>
    <dgm:cxn modelId="{E2B1662D-3B82-42BB-ACC6-F5C143F2A445}" type="presParOf" srcId="{74EA4E87-81F7-4B53-91E9-6B0299BB8F9D}" destId="{AE8F128C-56AD-413D-9119-DC85EE82C366}" srcOrd="0" destOrd="0" presId="urn:microsoft.com/office/officeart/2005/8/layout/hList2"/>
    <dgm:cxn modelId="{4A9688D6-DD86-45D0-A183-5476E460E595}" type="presParOf" srcId="{74EA4E87-81F7-4B53-91E9-6B0299BB8F9D}" destId="{1AFA29BF-DE71-4F51-B2A8-0B97214BD412}" srcOrd="1" destOrd="0" presId="urn:microsoft.com/office/officeart/2005/8/layout/hList2"/>
    <dgm:cxn modelId="{C4EAF40B-D993-44F7-93B3-9EC57600B460}" type="presParOf" srcId="{74EA4E87-81F7-4B53-91E9-6B0299BB8F9D}" destId="{5D90C623-2822-4E5C-BDD3-1577DF0942BA}" srcOrd="2" destOrd="0" presId="urn:microsoft.com/office/officeart/2005/8/layout/hList2"/>
    <dgm:cxn modelId="{BB741144-F4E2-4A90-9151-8BB83CD3D19A}" type="presParOf" srcId="{30E2EB2C-6E77-4DF5-9D60-5A01818B0DFA}" destId="{56D046B7-87CA-46A1-8D3A-0F110DE5EE8F}" srcOrd="3" destOrd="0" presId="urn:microsoft.com/office/officeart/2005/8/layout/hList2"/>
    <dgm:cxn modelId="{A48E814C-5E81-4866-A144-9B1B8A3BE46C}" type="presParOf" srcId="{30E2EB2C-6E77-4DF5-9D60-5A01818B0DFA}" destId="{38B70BD5-9746-4842-AD0C-EAA27A44484D}" srcOrd="4" destOrd="0" presId="urn:microsoft.com/office/officeart/2005/8/layout/hList2"/>
    <dgm:cxn modelId="{B73FA653-2D74-4290-83E4-531F13A11743}" type="presParOf" srcId="{38B70BD5-9746-4842-AD0C-EAA27A44484D}" destId="{0676F1CE-3DBB-456C-BACB-71192E699760}" srcOrd="0" destOrd="0" presId="urn:microsoft.com/office/officeart/2005/8/layout/hList2"/>
    <dgm:cxn modelId="{0C68856E-FAFF-4A79-9F6F-FCE9C1AD7C31}" type="presParOf" srcId="{38B70BD5-9746-4842-AD0C-EAA27A44484D}" destId="{68A20C4B-87E3-43FE-8EEF-4D1C0F6330FC}" srcOrd="1" destOrd="0" presId="urn:microsoft.com/office/officeart/2005/8/layout/hList2"/>
    <dgm:cxn modelId="{FDED8062-4B75-4E44-9110-A1AA79F70825}" type="presParOf" srcId="{38B70BD5-9746-4842-AD0C-EAA27A44484D}" destId="{75707ECB-889B-44DE-BCA0-37C1D5649F08}" srcOrd="2" destOrd="0" presId="urn:microsoft.com/office/officeart/2005/8/layout/hList2"/>
    <dgm:cxn modelId="{231DF383-6078-4016-AF69-DB5696A0E730}" type="presParOf" srcId="{30E2EB2C-6E77-4DF5-9D60-5A01818B0DFA}" destId="{64B4D576-9BB2-43A3-BFC6-992E5507D8BC}" srcOrd="5" destOrd="0" presId="urn:microsoft.com/office/officeart/2005/8/layout/hList2"/>
    <dgm:cxn modelId="{24399B4E-5DCB-49BB-AE8F-C1B6455C1AFF}" type="presParOf" srcId="{30E2EB2C-6E77-4DF5-9D60-5A01818B0DFA}" destId="{9F6B5575-D5D4-45C9-8529-C9228CE477F0}" srcOrd="6" destOrd="0" presId="urn:microsoft.com/office/officeart/2005/8/layout/hList2"/>
    <dgm:cxn modelId="{DD67849E-F654-4C6D-99D1-17CF96C227B5}" type="presParOf" srcId="{9F6B5575-D5D4-45C9-8529-C9228CE477F0}" destId="{59B35F74-A851-48E9-AF8A-8BA5D4DFBE1A}" srcOrd="0" destOrd="0" presId="urn:microsoft.com/office/officeart/2005/8/layout/hList2"/>
    <dgm:cxn modelId="{25A2BECB-5701-456B-8C10-989DFA750E89}" type="presParOf" srcId="{9F6B5575-D5D4-45C9-8529-C9228CE477F0}" destId="{27FF66BD-6518-4BDA-8AA2-7F132D4F0DFE}" srcOrd="1" destOrd="0" presId="urn:microsoft.com/office/officeart/2005/8/layout/hList2"/>
    <dgm:cxn modelId="{A364124E-6BC4-41A1-99D4-A49B78DC90CC}" type="presParOf" srcId="{9F6B5575-D5D4-45C9-8529-C9228CE477F0}" destId="{15258F5D-6074-420D-BDAA-F0102C2AB8D7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62E6C2-5AF9-4228-B979-FE2E3F968E31}">
      <dsp:nvSpPr>
        <dsp:cNvPr id="0" name=""/>
        <dsp:cNvSpPr/>
      </dsp:nvSpPr>
      <dsp:spPr>
        <a:xfrm rot="16200000">
          <a:off x="-1630142" y="2916164"/>
          <a:ext cx="4524628" cy="2356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07841" bIns="0" numCol="1" spcCol="1270" anchor="t" anchorCtr="0">
          <a:noAutofit/>
        </a:bodyPr>
        <a:lstStyle/>
        <a:p>
          <a:pPr marL="0" lvl="0" indent="0" algn="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kern="1200" dirty="0">
              <a:solidFill>
                <a:schemeClr val="accent6">
                  <a:lumMod val="75000"/>
                </a:schemeClr>
              </a:solidFill>
              <a:latin typeface="Helvetica Neue Light"/>
            </a:rPr>
            <a:t>Малолетние двудольные</a:t>
          </a:r>
        </a:p>
      </dsp:txBody>
      <dsp:txXfrm>
        <a:off x="-1630142" y="2916164"/>
        <a:ext cx="4524628" cy="235662"/>
      </dsp:txXfrm>
    </dsp:sp>
    <dsp:sp modelId="{480BB637-4591-4405-B88B-AA447E7DF1E6}">
      <dsp:nvSpPr>
        <dsp:cNvPr id="0" name=""/>
        <dsp:cNvSpPr/>
      </dsp:nvSpPr>
      <dsp:spPr>
        <a:xfrm>
          <a:off x="983886" y="781092"/>
          <a:ext cx="2433128" cy="4524628"/>
        </a:xfrm>
        <a:prstGeom prst="rect">
          <a:avLst/>
        </a:prstGeom>
        <a:gradFill rotWithShape="0">
          <a:gsLst>
            <a:gs pos="2000">
              <a:srgbClr val="99FF99"/>
            </a:gs>
            <a:gs pos="100000">
              <a:srgbClr val="69FF39"/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06680" tIns="207841" rIns="10668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Амброзия полыннолистная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Аистник цикутовый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Василек синий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Галинсога мелкоцветковая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Горцы, виды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Горчица полевая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Гречишка татарская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Гулявник лекарственный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Дескурения Софии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Дурнишник обыкновенный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Звездчатка средняя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Канатник Теофраста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Клоповник, виды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ru-RU" sz="15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983886" y="781092"/>
        <a:ext cx="2433128" cy="4524628"/>
      </dsp:txXfrm>
    </dsp:sp>
    <dsp:sp modelId="{26B0028F-52F7-4529-9A45-51EBB4CC15CA}">
      <dsp:nvSpPr>
        <dsp:cNvPr id="0" name=""/>
        <dsp:cNvSpPr/>
      </dsp:nvSpPr>
      <dsp:spPr>
        <a:xfrm>
          <a:off x="1047642" y="471951"/>
          <a:ext cx="471324" cy="471324"/>
        </a:xfrm>
        <a:prstGeom prst="rect">
          <a:avLst/>
        </a:prstGeom>
        <a:blipFill>
          <a:blip xmlns:r="http://schemas.openxmlformats.org/officeDocument/2006/relationships" r:embed="rId1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5D90C623-2822-4E5C-BDD3-1577DF0942BA}">
      <dsp:nvSpPr>
        <dsp:cNvPr id="0" name=""/>
        <dsp:cNvSpPr/>
      </dsp:nvSpPr>
      <dsp:spPr>
        <a:xfrm rot="16200000">
          <a:off x="1478012" y="2938108"/>
          <a:ext cx="4524628" cy="2356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07841" bIns="0" numCol="1" spcCol="1270" anchor="t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 </a:t>
          </a:r>
        </a:p>
      </dsp:txBody>
      <dsp:txXfrm>
        <a:off x="1478012" y="2938108"/>
        <a:ext cx="4524628" cy="235662"/>
      </dsp:txXfrm>
    </dsp:sp>
    <dsp:sp modelId="{1AFA29BF-DE71-4F51-B2A8-0B97214BD412}">
      <dsp:nvSpPr>
        <dsp:cNvPr id="0" name=""/>
        <dsp:cNvSpPr/>
      </dsp:nvSpPr>
      <dsp:spPr>
        <a:xfrm>
          <a:off x="3495380" y="781092"/>
          <a:ext cx="2336802" cy="4524628"/>
        </a:xfrm>
        <a:prstGeom prst="rect">
          <a:avLst/>
        </a:prstGeom>
        <a:gradFill rotWithShape="0">
          <a:gsLst>
            <a:gs pos="0">
              <a:srgbClr val="97FF95"/>
            </a:gs>
            <a:gs pos="100000">
              <a:srgbClr val="66FF33"/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06680" tIns="207841" rIns="10668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Коммелина, виды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Конопля сорнополевая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Короставник полевой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Крапива, виды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Курай — солянка русская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Лапчатка, виды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Лебеда, виды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Липучка, виды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Лопух, виды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Лютик, виды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Мак самосейка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Марь белая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Мелколепестник канадский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Незабудка полевая </a:t>
          </a:r>
        </a:p>
      </dsp:txBody>
      <dsp:txXfrm>
        <a:off x="3495380" y="781092"/>
        <a:ext cx="2336802" cy="4524628"/>
      </dsp:txXfrm>
    </dsp:sp>
    <dsp:sp modelId="{AE8F128C-56AD-413D-9119-DC85EE82C366}">
      <dsp:nvSpPr>
        <dsp:cNvPr id="0" name=""/>
        <dsp:cNvSpPr/>
      </dsp:nvSpPr>
      <dsp:spPr>
        <a:xfrm>
          <a:off x="3622495" y="482551"/>
          <a:ext cx="471324" cy="471324"/>
        </a:xfrm>
        <a:prstGeom prst="rect">
          <a:avLst/>
        </a:prstGeom>
        <a:blipFill>
          <a:blip xmlns:r="http://schemas.openxmlformats.org/officeDocument/2006/relationships" r:embed="rId1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75707ECB-889B-44DE-BCA0-37C1D5649F08}">
      <dsp:nvSpPr>
        <dsp:cNvPr id="0" name=""/>
        <dsp:cNvSpPr/>
      </dsp:nvSpPr>
      <dsp:spPr>
        <a:xfrm rot="16200000">
          <a:off x="5875279" y="3004078"/>
          <a:ext cx="4524628" cy="2356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07841" bIns="0" numCol="1" spcCol="1270" anchor="t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 </a:t>
          </a:r>
        </a:p>
      </dsp:txBody>
      <dsp:txXfrm>
        <a:off x="5875279" y="3004078"/>
        <a:ext cx="4524628" cy="235662"/>
      </dsp:txXfrm>
    </dsp:sp>
    <dsp:sp modelId="{68A20C4B-87E3-43FE-8EEF-4D1C0F6330FC}">
      <dsp:nvSpPr>
        <dsp:cNvPr id="0" name=""/>
        <dsp:cNvSpPr/>
      </dsp:nvSpPr>
      <dsp:spPr>
        <a:xfrm>
          <a:off x="5919962" y="793625"/>
          <a:ext cx="2482570" cy="4524628"/>
        </a:xfrm>
        <a:prstGeom prst="rect">
          <a:avLst/>
        </a:prstGeom>
        <a:gradFill rotWithShape="0">
          <a:gsLst>
            <a:gs pos="0">
              <a:srgbClr val="98FF98"/>
            </a:gs>
            <a:gs pos="100000">
              <a:srgbClr val="6CFF40"/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06680" tIns="207841" rIns="10668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Осот огородный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Очный цвет полевой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Паслён черный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Пастушья сумка обыкновенная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Подмаренник цепкий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Пикульник, виды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Подсолнечник, падалица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Пупавка, виды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Рапс, падалица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Редька дикая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Сурепка обыкновенная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Щирица, виды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Ярутка полевая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Ясколка, виды 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>
              <a:solidFill>
                <a:schemeClr val="tx1">
                  <a:lumMod val="65000"/>
                  <a:lumOff val="35000"/>
                </a:schemeClr>
              </a:solidFill>
            </a:rPr>
            <a:t>Яснотка, виды  </a:t>
          </a:r>
        </a:p>
      </dsp:txBody>
      <dsp:txXfrm>
        <a:off x="5919962" y="793625"/>
        <a:ext cx="2482570" cy="4524628"/>
      </dsp:txXfrm>
    </dsp:sp>
    <dsp:sp modelId="{0676F1CE-3DBB-456C-BACB-71192E699760}">
      <dsp:nvSpPr>
        <dsp:cNvPr id="0" name=""/>
        <dsp:cNvSpPr/>
      </dsp:nvSpPr>
      <dsp:spPr>
        <a:xfrm>
          <a:off x="6041887" y="471951"/>
          <a:ext cx="471324" cy="471324"/>
        </a:xfrm>
        <a:prstGeom prst="rect">
          <a:avLst/>
        </a:prstGeom>
        <a:blipFill>
          <a:blip xmlns:r="http://schemas.openxmlformats.org/officeDocument/2006/relationships" r:embed="rId1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15258F5D-6074-420D-BDAA-F0102C2AB8D7}">
      <dsp:nvSpPr>
        <dsp:cNvPr id="0" name=""/>
        <dsp:cNvSpPr/>
      </dsp:nvSpPr>
      <dsp:spPr>
        <a:xfrm rot="16200000">
          <a:off x="6383422" y="2957791"/>
          <a:ext cx="4524628" cy="2356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84853" bIns="0" numCol="1" spcCol="1270" anchor="t" anchorCtr="0">
          <a:noAutofit/>
        </a:bodyPr>
        <a:lstStyle/>
        <a:p>
          <a:pPr marL="0" lvl="0" indent="0" algn="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kern="1200" dirty="0">
              <a:solidFill>
                <a:srgbClr val="0070C0"/>
              </a:solidFill>
              <a:latin typeface="Helvetica Neue Light"/>
              <a:ea typeface="+mn-ea"/>
              <a:cs typeface="+mn-cs"/>
            </a:rPr>
            <a:t>Многолетние</a:t>
          </a:r>
          <a:r>
            <a:rPr lang="ru-RU" sz="2200" kern="1200" dirty="0">
              <a:solidFill>
                <a:srgbClr val="0070C0"/>
              </a:solidFill>
              <a:latin typeface="Helvetica Neue Light"/>
            </a:rPr>
            <a:t> </a:t>
          </a:r>
          <a:r>
            <a:rPr lang="ru-RU" sz="2200" kern="1200" dirty="0">
              <a:solidFill>
                <a:srgbClr val="0070C0"/>
              </a:solidFill>
              <a:latin typeface="Helvetica Neue Light"/>
              <a:ea typeface="+mn-ea"/>
              <a:cs typeface="+mn-cs"/>
            </a:rPr>
            <a:t>двудольные</a:t>
          </a:r>
        </a:p>
      </dsp:txBody>
      <dsp:txXfrm>
        <a:off x="6383422" y="2957791"/>
        <a:ext cx="4524628" cy="235662"/>
      </dsp:txXfrm>
    </dsp:sp>
    <dsp:sp modelId="{27FF66BD-6518-4BDA-8AA2-7F132D4F0DFE}">
      <dsp:nvSpPr>
        <dsp:cNvPr id="0" name=""/>
        <dsp:cNvSpPr/>
      </dsp:nvSpPr>
      <dsp:spPr>
        <a:xfrm>
          <a:off x="8889562" y="772540"/>
          <a:ext cx="2420650" cy="4524628"/>
        </a:xfrm>
        <a:prstGeom prst="rect">
          <a:avLst/>
        </a:prstGeom>
        <a:gradFill rotWithShape="0">
          <a:gsLst>
            <a:gs pos="0">
              <a:schemeClr val="accent4">
                <a:hueOff val="9800891"/>
                <a:satOff val="-40777"/>
                <a:lumOff val="960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9800891"/>
                <a:satOff val="-40777"/>
                <a:lumOff val="960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9800891"/>
                <a:satOff val="-40777"/>
                <a:lumOff val="960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06680" tIns="207841" rIns="10668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/>
            <a:t>Бодяк полевой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/>
            <a:t>Вьюнок полевой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/>
            <a:t>Латук — молокан татарский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/>
            <a:t>Льнянка, виды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/>
            <a:t>Мать-и-мачеха обыкновенная 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/>
            <a:t>Молочай лозный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/>
            <a:t>Нивяник обыкновенный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/>
            <a:t>Одуванчик лекарственный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/>
            <a:t>Осот полевой, жёлтый 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/>
            <a:t>Полынь, виды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/>
            <a:t>Ромашка, виды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/>
            <a:t>Чина, виды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/>
            <a:t>Чистец полевой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kern="1200" dirty="0"/>
            <a:t>Щавель, виды </a:t>
          </a:r>
        </a:p>
      </dsp:txBody>
      <dsp:txXfrm>
        <a:off x="8889562" y="772540"/>
        <a:ext cx="2420650" cy="4524628"/>
      </dsp:txXfrm>
    </dsp:sp>
    <dsp:sp modelId="{59B35F74-A851-48E9-AF8A-8BA5D4DFBE1A}">
      <dsp:nvSpPr>
        <dsp:cNvPr id="0" name=""/>
        <dsp:cNvSpPr/>
      </dsp:nvSpPr>
      <dsp:spPr>
        <a:xfrm>
          <a:off x="9022560" y="450756"/>
          <a:ext cx="471324" cy="471324"/>
        </a:xfrm>
        <a:prstGeom prst="rect">
          <a:avLst/>
        </a:prstGeom>
        <a:blipFill>
          <a:blip xmlns:r="http://schemas.openxmlformats.org/officeDocument/2006/relationships"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6381" y="1125221"/>
            <a:ext cx="9158288" cy="2393680"/>
          </a:xfrm>
          <a:prstGeom prst="rect">
            <a:avLst/>
          </a:prstGeom>
        </p:spPr>
        <p:txBody>
          <a:bodyPr anchor="b"/>
          <a:lstStyle>
            <a:lvl1pPr algn="ctr">
              <a:defRPr sz="601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6381" y="3611210"/>
            <a:ext cx="9158288" cy="16599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4"/>
            </a:lvl1pPr>
            <a:lvl2pPr marL="457932" indent="0" algn="ctr">
              <a:buNone/>
              <a:defRPr sz="2003"/>
            </a:lvl2pPr>
            <a:lvl3pPr marL="915863" indent="0" algn="ctr">
              <a:buNone/>
              <a:defRPr sz="1803"/>
            </a:lvl3pPr>
            <a:lvl4pPr marL="1373795" indent="0" algn="ctr">
              <a:buNone/>
              <a:defRPr sz="1603"/>
            </a:lvl4pPr>
            <a:lvl5pPr marL="1831726" indent="0" algn="ctr">
              <a:buNone/>
              <a:defRPr sz="1603"/>
            </a:lvl5pPr>
            <a:lvl6pPr marL="2289658" indent="0" algn="ctr">
              <a:buNone/>
              <a:defRPr sz="1603"/>
            </a:lvl6pPr>
            <a:lvl7pPr marL="2747589" indent="0" algn="ctr">
              <a:buNone/>
              <a:defRPr sz="1603"/>
            </a:lvl7pPr>
            <a:lvl8pPr marL="3205521" indent="0" algn="ctr">
              <a:buNone/>
              <a:defRPr sz="1603"/>
            </a:lvl8pPr>
            <a:lvl9pPr marL="3663452" indent="0" algn="ctr">
              <a:buNone/>
              <a:defRPr sz="1603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9510" y="6372536"/>
            <a:ext cx="2747486" cy="366055"/>
          </a:xfrm>
          <a:prstGeom prst="rect">
            <a:avLst/>
          </a:prstGeom>
        </p:spPr>
        <p:txBody>
          <a:bodyPr/>
          <a:lstStyle/>
          <a:p>
            <a:fld id="{D6F3808B-2FD5-D741-BA5D-8E461227B8AA}" type="datetimeFigureOut">
              <a:rPr lang="ru-RU" smtClean="0"/>
              <a:t>02.1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4911" y="6372536"/>
            <a:ext cx="4121229" cy="36605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24054" y="6372536"/>
            <a:ext cx="2747486" cy="366055"/>
          </a:xfrm>
          <a:prstGeom prst="rect">
            <a:avLst/>
          </a:prstGeom>
        </p:spPr>
        <p:txBody>
          <a:bodyPr/>
          <a:lstStyle/>
          <a:p>
            <a:fld id="{989CFA5E-7EB2-1A44-B0D0-3ED31C660C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49652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51063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9066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06710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34154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1585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42809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9947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05972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01842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48178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rgbClr val="0044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12887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06727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40460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6381" y="1125221"/>
            <a:ext cx="9158288" cy="2393680"/>
          </a:xfrm>
          <a:prstGeom prst="rect">
            <a:avLst/>
          </a:prstGeom>
        </p:spPr>
        <p:txBody>
          <a:bodyPr anchor="b"/>
          <a:lstStyle>
            <a:lvl1pPr algn="ctr">
              <a:defRPr sz="601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6381" y="3611210"/>
            <a:ext cx="9158288" cy="16599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4"/>
            </a:lvl1pPr>
            <a:lvl2pPr marL="457932" indent="0" algn="ctr">
              <a:buNone/>
              <a:defRPr sz="2003"/>
            </a:lvl2pPr>
            <a:lvl3pPr marL="915863" indent="0" algn="ctr">
              <a:buNone/>
              <a:defRPr sz="1803"/>
            </a:lvl3pPr>
            <a:lvl4pPr marL="1373795" indent="0" algn="ctr">
              <a:buNone/>
              <a:defRPr sz="1603"/>
            </a:lvl4pPr>
            <a:lvl5pPr marL="1831726" indent="0" algn="ctr">
              <a:buNone/>
              <a:defRPr sz="1603"/>
            </a:lvl5pPr>
            <a:lvl6pPr marL="2289658" indent="0" algn="ctr">
              <a:buNone/>
              <a:defRPr sz="1603"/>
            </a:lvl6pPr>
            <a:lvl7pPr marL="2747589" indent="0" algn="ctr">
              <a:buNone/>
              <a:defRPr sz="1603"/>
            </a:lvl7pPr>
            <a:lvl8pPr marL="3205521" indent="0" algn="ctr">
              <a:buNone/>
              <a:defRPr sz="1603"/>
            </a:lvl8pPr>
            <a:lvl9pPr marL="3663452" indent="0" algn="ctr">
              <a:buNone/>
              <a:defRPr sz="1603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9510" y="6372536"/>
            <a:ext cx="2747486" cy="366055"/>
          </a:xfrm>
          <a:prstGeom prst="rect">
            <a:avLst/>
          </a:prstGeom>
        </p:spPr>
        <p:txBody>
          <a:bodyPr/>
          <a:lstStyle/>
          <a:p>
            <a:fld id="{D6F3808B-2FD5-D741-BA5D-8E461227B8AA}" type="datetimeFigureOut">
              <a:rPr lang="ru-RU" smtClean="0"/>
              <a:t>02.1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4911" y="6372536"/>
            <a:ext cx="4121229" cy="36605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24054" y="6372536"/>
            <a:ext cx="2747486" cy="366055"/>
          </a:xfrm>
          <a:prstGeom prst="rect">
            <a:avLst/>
          </a:prstGeom>
        </p:spPr>
        <p:txBody>
          <a:bodyPr/>
          <a:lstStyle/>
          <a:p>
            <a:fld id="{989CFA5E-7EB2-1A44-B0D0-3ED31C660C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50540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6381" y="1125221"/>
            <a:ext cx="9158288" cy="2393680"/>
          </a:xfrm>
          <a:prstGeom prst="rect">
            <a:avLst/>
          </a:prstGeom>
        </p:spPr>
        <p:txBody>
          <a:bodyPr anchor="b"/>
          <a:lstStyle>
            <a:lvl1pPr algn="ctr">
              <a:defRPr sz="601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6381" y="3611210"/>
            <a:ext cx="9158288" cy="16599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4"/>
            </a:lvl1pPr>
            <a:lvl2pPr marL="457932" indent="0" algn="ctr">
              <a:buNone/>
              <a:defRPr sz="2003"/>
            </a:lvl2pPr>
            <a:lvl3pPr marL="915863" indent="0" algn="ctr">
              <a:buNone/>
              <a:defRPr sz="1803"/>
            </a:lvl3pPr>
            <a:lvl4pPr marL="1373795" indent="0" algn="ctr">
              <a:buNone/>
              <a:defRPr sz="1603"/>
            </a:lvl4pPr>
            <a:lvl5pPr marL="1831726" indent="0" algn="ctr">
              <a:buNone/>
              <a:defRPr sz="1603"/>
            </a:lvl5pPr>
            <a:lvl6pPr marL="2289658" indent="0" algn="ctr">
              <a:buNone/>
              <a:defRPr sz="1603"/>
            </a:lvl6pPr>
            <a:lvl7pPr marL="2747589" indent="0" algn="ctr">
              <a:buNone/>
              <a:defRPr sz="1603"/>
            </a:lvl7pPr>
            <a:lvl8pPr marL="3205521" indent="0" algn="ctr">
              <a:buNone/>
              <a:defRPr sz="1603"/>
            </a:lvl8pPr>
            <a:lvl9pPr marL="3663452" indent="0" algn="ctr">
              <a:buNone/>
              <a:defRPr sz="1603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9510" y="6372536"/>
            <a:ext cx="2747486" cy="366055"/>
          </a:xfrm>
          <a:prstGeom prst="rect">
            <a:avLst/>
          </a:prstGeom>
        </p:spPr>
        <p:txBody>
          <a:bodyPr/>
          <a:lstStyle/>
          <a:p>
            <a:fld id="{D6F3808B-2FD5-D741-BA5D-8E461227B8AA}" type="datetimeFigureOut">
              <a:rPr lang="ru-RU" smtClean="0"/>
              <a:t>02.1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4911" y="6372536"/>
            <a:ext cx="4121229" cy="36605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24054" y="6372536"/>
            <a:ext cx="2747486" cy="366055"/>
          </a:xfrm>
          <a:prstGeom prst="rect">
            <a:avLst/>
          </a:prstGeom>
        </p:spPr>
        <p:txBody>
          <a:bodyPr/>
          <a:lstStyle/>
          <a:p>
            <a:fld id="{989CFA5E-7EB2-1A44-B0D0-3ED31C660C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15219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6381" y="1125221"/>
            <a:ext cx="9158288" cy="2393680"/>
          </a:xfrm>
          <a:prstGeom prst="rect">
            <a:avLst/>
          </a:prstGeom>
        </p:spPr>
        <p:txBody>
          <a:bodyPr anchor="b"/>
          <a:lstStyle>
            <a:lvl1pPr algn="ctr">
              <a:defRPr sz="601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6381" y="3611210"/>
            <a:ext cx="9158288" cy="16599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4"/>
            </a:lvl1pPr>
            <a:lvl2pPr marL="457932" indent="0" algn="ctr">
              <a:buNone/>
              <a:defRPr sz="2003"/>
            </a:lvl2pPr>
            <a:lvl3pPr marL="915863" indent="0" algn="ctr">
              <a:buNone/>
              <a:defRPr sz="1803"/>
            </a:lvl3pPr>
            <a:lvl4pPr marL="1373795" indent="0" algn="ctr">
              <a:buNone/>
              <a:defRPr sz="1603"/>
            </a:lvl4pPr>
            <a:lvl5pPr marL="1831726" indent="0" algn="ctr">
              <a:buNone/>
              <a:defRPr sz="1603"/>
            </a:lvl5pPr>
            <a:lvl6pPr marL="2289658" indent="0" algn="ctr">
              <a:buNone/>
              <a:defRPr sz="1603"/>
            </a:lvl6pPr>
            <a:lvl7pPr marL="2747589" indent="0" algn="ctr">
              <a:buNone/>
              <a:defRPr sz="1603"/>
            </a:lvl7pPr>
            <a:lvl8pPr marL="3205521" indent="0" algn="ctr">
              <a:buNone/>
              <a:defRPr sz="1603"/>
            </a:lvl8pPr>
            <a:lvl9pPr marL="3663452" indent="0" algn="ctr">
              <a:buNone/>
              <a:defRPr sz="1603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9510" y="6372536"/>
            <a:ext cx="2747486" cy="366055"/>
          </a:xfrm>
          <a:prstGeom prst="rect">
            <a:avLst/>
          </a:prstGeom>
        </p:spPr>
        <p:txBody>
          <a:bodyPr/>
          <a:lstStyle/>
          <a:p>
            <a:fld id="{D6F3808B-2FD5-D741-BA5D-8E461227B8AA}" type="datetimeFigureOut">
              <a:rPr lang="ru-RU" smtClean="0"/>
              <a:t>02.1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4911" y="6372536"/>
            <a:ext cx="4121229" cy="36605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24054" y="6372536"/>
            <a:ext cx="2747486" cy="366055"/>
          </a:xfrm>
          <a:prstGeom prst="rect">
            <a:avLst/>
          </a:prstGeom>
        </p:spPr>
        <p:txBody>
          <a:bodyPr/>
          <a:lstStyle/>
          <a:p>
            <a:fld id="{989CFA5E-7EB2-1A44-B0D0-3ED31C660C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9753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6381" y="1125221"/>
            <a:ext cx="9158288" cy="2393680"/>
          </a:xfrm>
          <a:prstGeom prst="rect">
            <a:avLst/>
          </a:prstGeom>
        </p:spPr>
        <p:txBody>
          <a:bodyPr anchor="b"/>
          <a:lstStyle>
            <a:lvl1pPr algn="ctr">
              <a:defRPr sz="601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6381" y="3611210"/>
            <a:ext cx="9158288" cy="16599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4"/>
            </a:lvl1pPr>
            <a:lvl2pPr marL="457932" indent="0" algn="ctr">
              <a:buNone/>
              <a:defRPr sz="2003"/>
            </a:lvl2pPr>
            <a:lvl3pPr marL="915863" indent="0" algn="ctr">
              <a:buNone/>
              <a:defRPr sz="1803"/>
            </a:lvl3pPr>
            <a:lvl4pPr marL="1373795" indent="0" algn="ctr">
              <a:buNone/>
              <a:defRPr sz="1603"/>
            </a:lvl4pPr>
            <a:lvl5pPr marL="1831726" indent="0" algn="ctr">
              <a:buNone/>
              <a:defRPr sz="1603"/>
            </a:lvl5pPr>
            <a:lvl6pPr marL="2289658" indent="0" algn="ctr">
              <a:buNone/>
              <a:defRPr sz="1603"/>
            </a:lvl6pPr>
            <a:lvl7pPr marL="2747589" indent="0" algn="ctr">
              <a:buNone/>
              <a:defRPr sz="1603"/>
            </a:lvl7pPr>
            <a:lvl8pPr marL="3205521" indent="0" algn="ctr">
              <a:buNone/>
              <a:defRPr sz="1603"/>
            </a:lvl8pPr>
            <a:lvl9pPr marL="3663452" indent="0" algn="ctr">
              <a:buNone/>
              <a:defRPr sz="1603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9510" y="6372536"/>
            <a:ext cx="2747486" cy="366055"/>
          </a:xfrm>
          <a:prstGeom prst="rect">
            <a:avLst/>
          </a:prstGeom>
        </p:spPr>
        <p:txBody>
          <a:bodyPr/>
          <a:lstStyle/>
          <a:p>
            <a:fld id="{D6F3808B-2FD5-D741-BA5D-8E461227B8AA}" type="datetimeFigureOut">
              <a:rPr lang="ru-RU" smtClean="0"/>
              <a:t>02.1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44911" y="6372536"/>
            <a:ext cx="4121229" cy="36605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24054" y="6372536"/>
            <a:ext cx="2747486" cy="366055"/>
          </a:xfrm>
          <a:prstGeom prst="rect">
            <a:avLst/>
          </a:prstGeom>
        </p:spPr>
        <p:txBody>
          <a:bodyPr/>
          <a:lstStyle/>
          <a:p>
            <a:fld id="{989CFA5E-7EB2-1A44-B0D0-3ED31C660C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26361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44285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49985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4431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emf"/><Relationship Id="rId4" Type="http://schemas.openxmlformats.org/officeDocument/2006/relationships/image" Target="../media/image1.gif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1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2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13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14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15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theme" Target="../theme/theme1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.emf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17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theme" Target="../theme/theme17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3.emf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theme" Target="../theme/theme18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3.emf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2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emf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.emf"/><Relationship Id="rId4" Type="http://schemas.openxmlformats.org/officeDocument/2006/relationships/image" Target="../media/image4.gi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emf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8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9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r Verbinder 3">
            <a:extLst>
              <a:ext uri="{FF2B5EF4-FFF2-40B4-BE49-F238E27FC236}">
                <a16:creationId xmlns:a16="http://schemas.microsoft.com/office/drawing/2014/main" id="{BE39DA5D-1344-AB40-B473-28D3FA708681}"/>
              </a:ext>
            </a:extLst>
          </p:cNvPr>
          <p:cNvCxnSpPr/>
          <p:nvPr userDrawn="1"/>
        </p:nvCxnSpPr>
        <p:spPr bwMode="gray">
          <a:xfrm flipV="1">
            <a:off x="3850248" y="-372635"/>
            <a:ext cx="2353334" cy="7253470"/>
          </a:xfrm>
          <a:prstGeom prst="line">
            <a:avLst/>
          </a:prstGeom>
          <a:ln w="12700">
            <a:solidFill>
              <a:srgbClr val="68B5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A02142B-87ED-4C46-9F78-FBA3B9E0D52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86510" y="0"/>
            <a:ext cx="2657474" cy="2657474"/>
          </a:xfrm>
          <a:prstGeom prst="rect">
            <a:avLst/>
          </a:prstGeom>
        </p:spPr>
      </p:pic>
      <p:sp>
        <p:nvSpPr>
          <p:cNvPr id="3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63796C4A-BED3-4E57-89F6-3E00D774830A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5495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81" r:id="rId2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4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3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2.5793E-6 -9.00485E-7 L 0.0104 -9.00485E-7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txStyles>
    <p:titleStyle>
      <a:lvl1pPr algn="l" defTabSz="915863" rtl="0" eaLnBrk="1" latinLnBrk="0" hangingPunct="1">
        <a:lnSpc>
          <a:spcPct val="90000"/>
        </a:lnSpc>
        <a:spcBef>
          <a:spcPct val="0"/>
        </a:spcBef>
        <a:buNone/>
        <a:defRPr sz="440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966" indent="-228966" algn="l" defTabSz="915863" rtl="0" eaLnBrk="1" latinLnBrk="0" hangingPunct="1">
        <a:lnSpc>
          <a:spcPct val="90000"/>
        </a:lnSpc>
        <a:spcBef>
          <a:spcPts val="1002"/>
        </a:spcBef>
        <a:buFont typeface="Arial" panose="020B0604020202020204" pitchFamily="34" charset="0"/>
        <a:buChar char="•"/>
        <a:defRPr sz="2804" kern="1200">
          <a:solidFill>
            <a:schemeClr val="tx1"/>
          </a:solidFill>
          <a:latin typeface="+mn-lt"/>
          <a:ea typeface="+mn-ea"/>
          <a:cs typeface="+mn-cs"/>
        </a:defRPr>
      </a:lvl1pPr>
      <a:lvl2pPr marL="686897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2404" kern="1200">
          <a:solidFill>
            <a:schemeClr val="tx1"/>
          </a:solidFill>
          <a:latin typeface="+mn-lt"/>
          <a:ea typeface="+mn-ea"/>
          <a:cs typeface="+mn-cs"/>
        </a:defRPr>
      </a:lvl2pPr>
      <a:lvl3pPr marL="1144829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2003" kern="1200">
          <a:solidFill>
            <a:schemeClr val="tx1"/>
          </a:solidFill>
          <a:latin typeface="+mn-lt"/>
          <a:ea typeface="+mn-ea"/>
          <a:cs typeface="+mn-cs"/>
        </a:defRPr>
      </a:lvl3pPr>
      <a:lvl4pPr marL="1602760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4pPr>
      <a:lvl5pPr marL="2060692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5pPr>
      <a:lvl6pPr marL="2518623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6pPr>
      <a:lvl7pPr marL="2976555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7pPr>
      <a:lvl8pPr marL="3434486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8pPr>
      <a:lvl9pPr marL="3892418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1pPr>
      <a:lvl2pPr marL="457932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2pPr>
      <a:lvl3pPr marL="915863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3pPr>
      <a:lvl4pPr marL="1373795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4pPr>
      <a:lvl5pPr marL="1831726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5pPr>
      <a:lvl6pPr marL="2289658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6pPr>
      <a:lvl7pPr marL="2747589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7pPr>
      <a:lvl8pPr marL="3205521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8pPr>
      <a:lvl9pPr marL="3663452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44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E1A6E6E-EE0C-0A44-B436-8B0000BE972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-3807" y="0"/>
            <a:ext cx="12217814" cy="2213595"/>
          </a:xfrm>
          <a:prstGeom prst="rect">
            <a:avLst/>
          </a:prstGeom>
        </p:spPr>
      </p:pic>
      <p:sp>
        <p:nvSpPr>
          <p:cNvPr id="3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DE854BF0-3EAF-4F26-9460-0D2D3B1FB6FF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696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0E849E7-E2F3-7242-9C1C-44235D4C3B5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-18175" y="3928"/>
            <a:ext cx="12256065" cy="2220525"/>
          </a:xfrm>
          <a:prstGeom prst="rect">
            <a:avLst/>
          </a:prstGeom>
        </p:spPr>
      </p:pic>
      <p:sp>
        <p:nvSpPr>
          <p:cNvPr id="4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5DC85DA7-CB9A-4DF2-9C90-8BD48D34F48D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7565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44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ABC0B53-74CD-F944-ACD9-E0E3B4FD04E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-18175" y="3928"/>
            <a:ext cx="12256065" cy="2220525"/>
          </a:xfrm>
          <a:prstGeom prst="rect">
            <a:avLst/>
          </a:prstGeom>
        </p:spPr>
      </p:pic>
      <p:sp>
        <p:nvSpPr>
          <p:cNvPr id="3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47B56D82-B454-4451-88AE-7DBEF2E4F3F7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1953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4BD277B0-B140-0E48-8090-2383F6E373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0"/>
            <a:ext cx="12211050" cy="1299643"/>
          </a:xfrm>
          <a:prstGeom prst="rect">
            <a:avLst/>
          </a:prstGeom>
        </p:spPr>
      </p:pic>
      <p:sp>
        <p:nvSpPr>
          <p:cNvPr id="3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33ED6898-DD0A-4ECC-AD5C-492245CF0C7C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9947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0E849E7-E2F3-7242-9C1C-44235D4C3B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1059" cy="1224915"/>
          </a:xfrm>
          <a:prstGeom prst="rect">
            <a:avLst/>
          </a:prstGeom>
        </p:spPr>
      </p:pic>
      <p:sp>
        <p:nvSpPr>
          <p:cNvPr id="4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2ADA6B39-8288-45C2-954F-70C85373A664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2081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AA31510-49CD-FF4F-9590-FEBD91E2F2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644" r="815"/>
          <a:stretch/>
        </p:blipFill>
        <p:spPr>
          <a:xfrm>
            <a:off x="-78301" y="0"/>
            <a:ext cx="12289351" cy="6875463"/>
          </a:xfrm>
          <a:prstGeom prst="rect">
            <a:avLst/>
          </a:prstGeom>
        </p:spPr>
      </p:pic>
      <p:grpSp>
        <p:nvGrpSpPr>
          <p:cNvPr id="7" name="Gruppieren 100">
            <a:extLst>
              <a:ext uri="{FF2B5EF4-FFF2-40B4-BE49-F238E27FC236}">
                <a16:creationId xmlns:a16="http://schemas.microsoft.com/office/drawing/2014/main" id="{CD9C81F2-4D3E-1F49-8458-350A2385387A}"/>
              </a:ext>
            </a:extLst>
          </p:cNvPr>
          <p:cNvGrpSpPr/>
          <p:nvPr userDrawn="1"/>
        </p:nvGrpSpPr>
        <p:grpSpPr>
          <a:xfrm>
            <a:off x="0" y="2574810"/>
            <a:ext cx="1472752" cy="454186"/>
            <a:chOff x="646783" y="3050368"/>
            <a:chExt cx="1155005" cy="356195"/>
          </a:xfrm>
        </p:grpSpPr>
        <p:cxnSp>
          <p:nvCxnSpPr>
            <p:cNvPr id="8" name="Gerade Verbindung 129">
              <a:extLst>
                <a:ext uri="{FF2B5EF4-FFF2-40B4-BE49-F238E27FC236}">
                  <a16:creationId xmlns:a16="http://schemas.microsoft.com/office/drawing/2014/main" id="{F9343B2E-8896-1D4E-8954-33E17383B86E}"/>
                </a:ext>
              </a:extLst>
            </p:cNvPr>
            <p:cNvCxnSpPr/>
            <p:nvPr/>
          </p:nvCxnSpPr>
          <p:spPr bwMode="gray">
            <a:xfrm rot="900000" flipV="1">
              <a:off x="64678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30">
              <a:extLst>
                <a:ext uri="{FF2B5EF4-FFF2-40B4-BE49-F238E27FC236}">
                  <a16:creationId xmlns:a16="http://schemas.microsoft.com/office/drawing/2014/main" id="{3C0E4D79-89F3-C248-87C1-927E49E2CAE7}"/>
                </a:ext>
              </a:extLst>
            </p:cNvPr>
            <p:cNvCxnSpPr/>
            <p:nvPr/>
          </p:nvCxnSpPr>
          <p:spPr bwMode="gray">
            <a:xfrm rot="900000" flipV="1">
              <a:off x="718971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31">
              <a:extLst>
                <a:ext uri="{FF2B5EF4-FFF2-40B4-BE49-F238E27FC236}">
                  <a16:creationId xmlns:a16="http://schemas.microsoft.com/office/drawing/2014/main" id="{C16D45E7-8F01-FE49-8CE2-72AF3E686600}"/>
                </a:ext>
              </a:extLst>
            </p:cNvPr>
            <p:cNvCxnSpPr/>
            <p:nvPr/>
          </p:nvCxnSpPr>
          <p:spPr bwMode="gray">
            <a:xfrm rot="900000" flipV="1">
              <a:off x="79115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32">
              <a:extLst>
                <a:ext uri="{FF2B5EF4-FFF2-40B4-BE49-F238E27FC236}">
                  <a16:creationId xmlns:a16="http://schemas.microsoft.com/office/drawing/2014/main" id="{D42F94F6-3053-A845-BFC6-E802747B2480}"/>
                </a:ext>
              </a:extLst>
            </p:cNvPr>
            <p:cNvCxnSpPr/>
            <p:nvPr/>
          </p:nvCxnSpPr>
          <p:spPr bwMode="gray">
            <a:xfrm rot="900000" flipV="1">
              <a:off x="863347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33">
              <a:extLst>
                <a:ext uri="{FF2B5EF4-FFF2-40B4-BE49-F238E27FC236}">
                  <a16:creationId xmlns:a16="http://schemas.microsoft.com/office/drawing/2014/main" id="{D4821B6C-9980-1347-8326-7A9667D24BD0}"/>
                </a:ext>
              </a:extLst>
            </p:cNvPr>
            <p:cNvCxnSpPr/>
            <p:nvPr/>
          </p:nvCxnSpPr>
          <p:spPr bwMode="gray">
            <a:xfrm rot="900000" flipV="1">
              <a:off x="935534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34">
              <a:extLst>
                <a:ext uri="{FF2B5EF4-FFF2-40B4-BE49-F238E27FC236}">
                  <a16:creationId xmlns:a16="http://schemas.microsoft.com/office/drawing/2014/main" id="{FB499339-A8AC-BF4E-AEA0-C0E5559ADD77}"/>
                </a:ext>
              </a:extLst>
            </p:cNvPr>
            <p:cNvCxnSpPr/>
            <p:nvPr/>
          </p:nvCxnSpPr>
          <p:spPr bwMode="gray">
            <a:xfrm rot="900000" flipV="1">
              <a:off x="100772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5">
              <a:extLst>
                <a:ext uri="{FF2B5EF4-FFF2-40B4-BE49-F238E27FC236}">
                  <a16:creationId xmlns:a16="http://schemas.microsoft.com/office/drawing/2014/main" id="{311D96AD-6CB1-1142-BD98-4E61973E5248}"/>
                </a:ext>
              </a:extLst>
            </p:cNvPr>
            <p:cNvCxnSpPr/>
            <p:nvPr/>
          </p:nvCxnSpPr>
          <p:spPr bwMode="gray">
            <a:xfrm rot="900000" flipV="1">
              <a:off x="107990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36">
              <a:extLst>
                <a:ext uri="{FF2B5EF4-FFF2-40B4-BE49-F238E27FC236}">
                  <a16:creationId xmlns:a16="http://schemas.microsoft.com/office/drawing/2014/main" id="{07F859CC-8A76-AA4A-BBBB-6E1285095AB7}"/>
                </a:ext>
              </a:extLst>
            </p:cNvPr>
            <p:cNvCxnSpPr/>
            <p:nvPr/>
          </p:nvCxnSpPr>
          <p:spPr bwMode="gray">
            <a:xfrm rot="900000" flipV="1">
              <a:off x="1152097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37">
              <a:extLst>
                <a:ext uri="{FF2B5EF4-FFF2-40B4-BE49-F238E27FC236}">
                  <a16:creationId xmlns:a16="http://schemas.microsoft.com/office/drawing/2014/main" id="{3153FF49-DA64-B84A-9EE2-65BBC8BA306A}"/>
                </a:ext>
              </a:extLst>
            </p:cNvPr>
            <p:cNvCxnSpPr/>
            <p:nvPr/>
          </p:nvCxnSpPr>
          <p:spPr bwMode="gray">
            <a:xfrm rot="900000" flipV="1">
              <a:off x="1224286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38">
              <a:extLst>
                <a:ext uri="{FF2B5EF4-FFF2-40B4-BE49-F238E27FC236}">
                  <a16:creationId xmlns:a16="http://schemas.microsoft.com/office/drawing/2014/main" id="{52FDD312-F18E-2548-BD9B-D49FF9C615D4}"/>
                </a:ext>
              </a:extLst>
            </p:cNvPr>
            <p:cNvCxnSpPr/>
            <p:nvPr/>
          </p:nvCxnSpPr>
          <p:spPr bwMode="gray">
            <a:xfrm rot="900000" flipV="1">
              <a:off x="1296472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13">
              <a:extLst>
                <a:ext uri="{FF2B5EF4-FFF2-40B4-BE49-F238E27FC236}">
                  <a16:creationId xmlns:a16="http://schemas.microsoft.com/office/drawing/2014/main" id="{83234650-7DE7-4C4E-85FD-7BFBB11D8117}"/>
                </a:ext>
              </a:extLst>
            </p:cNvPr>
            <p:cNvCxnSpPr/>
            <p:nvPr/>
          </p:nvCxnSpPr>
          <p:spPr bwMode="gray">
            <a:xfrm rot="900000" flipV="1">
              <a:off x="1368661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14">
              <a:extLst>
                <a:ext uri="{FF2B5EF4-FFF2-40B4-BE49-F238E27FC236}">
                  <a16:creationId xmlns:a16="http://schemas.microsoft.com/office/drawing/2014/main" id="{174EB057-0FB0-EF43-8EA1-DB1CD92AC9DD}"/>
                </a:ext>
              </a:extLst>
            </p:cNvPr>
            <p:cNvCxnSpPr/>
            <p:nvPr/>
          </p:nvCxnSpPr>
          <p:spPr bwMode="gray">
            <a:xfrm rot="900000" flipV="1">
              <a:off x="144084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15">
              <a:extLst>
                <a:ext uri="{FF2B5EF4-FFF2-40B4-BE49-F238E27FC236}">
                  <a16:creationId xmlns:a16="http://schemas.microsoft.com/office/drawing/2014/main" id="{F12AA6DF-9AEA-894D-A608-BD23520A110E}"/>
                </a:ext>
              </a:extLst>
            </p:cNvPr>
            <p:cNvCxnSpPr/>
            <p:nvPr/>
          </p:nvCxnSpPr>
          <p:spPr bwMode="gray">
            <a:xfrm rot="900000" flipV="1">
              <a:off x="1513036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16">
              <a:extLst>
                <a:ext uri="{FF2B5EF4-FFF2-40B4-BE49-F238E27FC236}">
                  <a16:creationId xmlns:a16="http://schemas.microsoft.com/office/drawing/2014/main" id="{332D6EE9-A758-8946-98CC-0F11C2AA4D58}"/>
                </a:ext>
              </a:extLst>
            </p:cNvPr>
            <p:cNvCxnSpPr/>
            <p:nvPr/>
          </p:nvCxnSpPr>
          <p:spPr bwMode="gray">
            <a:xfrm rot="900000" flipV="1">
              <a:off x="1585224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17">
              <a:extLst>
                <a:ext uri="{FF2B5EF4-FFF2-40B4-BE49-F238E27FC236}">
                  <a16:creationId xmlns:a16="http://schemas.microsoft.com/office/drawing/2014/main" id="{D231AEE8-C348-0A4D-BBEC-C45D360A983B}"/>
                </a:ext>
              </a:extLst>
            </p:cNvPr>
            <p:cNvCxnSpPr/>
            <p:nvPr/>
          </p:nvCxnSpPr>
          <p:spPr bwMode="gray">
            <a:xfrm rot="900000" flipV="1">
              <a:off x="165741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18">
              <a:extLst>
                <a:ext uri="{FF2B5EF4-FFF2-40B4-BE49-F238E27FC236}">
                  <a16:creationId xmlns:a16="http://schemas.microsoft.com/office/drawing/2014/main" id="{4DC3F899-7FE6-834E-B0D4-497EE534BE87}"/>
                </a:ext>
              </a:extLst>
            </p:cNvPr>
            <p:cNvCxnSpPr/>
            <p:nvPr/>
          </p:nvCxnSpPr>
          <p:spPr bwMode="gray">
            <a:xfrm rot="900000" flipV="1">
              <a:off x="172959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19">
              <a:extLst>
                <a:ext uri="{FF2B5EF4-FFF2-40B4-BE49-F238E27FC236}">
                  <a16:creationId xmlns:a16="http://schemas.microsoft.com/office/drawing/2014/main" id="{9346280A-0423-9741-BB07-4EFB969BEFC7}"/>
                </a:ext>
              </a:extLst>
            </p:cNvPr>
            <p:cNvCxnSpPr/>
            <p:nvPr/>
          </p:nvCxnSpPr>
          <p:spPr bwMode="gray">
            <a:xfrm rot="900000" flipV="1">
              <a:off x="1801788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B04F5B9D-0C5F-F640-8EAD-6972168BD85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246081" y="0"/>
            <a:ext cx="2366128" cy="2366128"/>
          </a:xfrm>
          <a:prstGeom prst="rect">
            <a:avLst/>
          </a:prstGeom>
        </p:spPr>
      </p:pic>
      <p:sp>
        <p:nvSpPr>
          <p:cNvPr id="3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6980DCB6-DC3C-40DA-A791-D8A2E6EC5673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254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</p:sldLayoutIdLs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 p14:presetBounceEnd="50000">
                                      <p:stCondLst>
                                        <p:cond delay="85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>
                                      <p:stCondLst>
                                        <p:cond delay="85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4BD277B0-B140-0E48-8090-2383F6E373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211050" cy="2203883"/>
          </a:xfrm>
          <a:prstGeom prst="rect">
            <a:avLst/>
          </a:prstGeom>
        </p:spPr>
      </p:pic>
      <p:sp>
        <p:nvSpPr>
          <p:cNvPr id="3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FB247BAB-8D5E-4199-AB08-D31A3C39CEE3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697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0E849E7-E2F3-7242-9C1C-44235D4C3B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44329"/>
          <a:stretch/>
        </p:blipFill>
        <p:spPr>
          <a:xfrm flipH="1">
            <a:off x="0" y="0"/>
            <a:ext cx="12191059" cy="1224915"/>
          </a:xfrm>
          <a:prstGeom prst="rect">
            <a:avLst/>
          </a:prstGeom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8ED1BECA-685C-CA43-A14A-000A13D3F63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71362" y="664210"/>
            <a:ext cx="534241" cy="53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CD91C96D-B53A-4715-84B0-16BC0B5114A4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8273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4BD277B0-B140-0E48-8090-2383F6E373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41029"/>
          <a:stretch/>
        </p:blipFill>
        <p:spPr>
          <a:xfrm flipH="1">
            <a:off x="1" y="0"/>
            <a:ext cx="12211050" cy="129964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F728B63-9662-084D-9AF1-D0F6ADEA45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71362" y="664210"/>
            <a:ext cx="534241" cy="53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902FD803-281C-4B86-865D-CF9F092EE62E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0411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0E849E7-E2F3-7242-9C1C-44235D4C3B5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1059" cy="2200275"/>
          </a:xfrm>
          <a:prstGeom prst="rect">
            <a:avLst/>
          </a:prstGeom>
        </p:spPr>
      </p:pic>
      <p:sp>
        <p:nvSpPr>
          <p:cNvPr id="4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E0D69724-C45C-49AF-90AE-65584B83452F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135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4F78936-A742-8643-A326-9F3B8CA89C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590879" y="8057"/>
            <a:ext cx="6620171" cy="6875463"/>
          </a:xfrm>
          <a:prstGeom prst="rect">
            <a:avLst/>
          </a:prstGeom>
        </p:spPr>
      </p:pic>
      <p:cxnSp>
        <p:nvCxnSpPr>
          <p:cNvPr id="10" name="Gerader Verbinder 3">
            <a:extLst>
              <a:ext uri="{FF2B5EF4-FFF2-40B4-BE49-F238E27FC236}">
                <a16:creationId xmlns:a16="http://schemas.microsoft.com/office/drawing/2014/main" id="{DD484B09-EAFA-504D-A975-BAA9341CBEA0}"/>
              </a:ext>
            </a:extLst>
          </p:cNvPr>
          <p:cNvCxnSpPr/>
          <p:nvPr userDrawn="1"/>
        </p:nvCxnSpPr>
        <p:spPr bwMode="gray">
          <a:xfrm flipV="1">
            <a:off x="5400525" y="-180946"/>
            <a:ext cx="2353334" cy="7253470"/>
          </a:xfrm>
          <a:prstGeom prst="line">
            <a:avLst/>
          </a:prstGeom>
          <a:ln w="12700">
            <a:solidFill>
              <a:srgbClr val="68B5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C3A242B-8B30-8D49-8B3F-8D312063A9D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246081" y="0"/>
            <a:ext cx="2366128" cy="2366128"/>
          </a:xfrm>
          <a:prstGeom prst="rect">
            <a:avLst/>
          </a:prstGeom>
        </p:spPr>
      </p:pic>
      <p:sp>
        <p:nvSpPr>
          <p:cNvPr id="3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F3ECA823-5004-4D06-A576-6D18BFF9057E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1061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4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3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4.12897E-6 1.85185E-6 L 0.0104 1.85185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txStyles>
    <p:titleStyle>
      <a:lvl1pPr algn="l" defTabSz="915863" rtl="0" eaLnBrk="1" latinLnBrk="0" hangingPunct="1">
        <a:lnSpc>
          <a:spcPct val="90000"/>
        </a:lnSpc>
        <a:spcBef>
          <a:spcPct val="0"/>
        </a:spcBef>
        <a:buNone/>
        <a:defRPr sz="440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966" indent="-228966" algn="l" defTabSz="915863" rtl="0" eaLnBrk="1" latinLnBrk="0" hangingPunct="1">
        <a:lnSpc>
          <a:spcPct val="90000"/>
        </a:lnSpc>
        <a:spcBef>
          <a:spcPts val="1002"/>
        </a:spcBef>
        <a:buFont typeface="Arial" panose="020B0604020202020204" pitchFamily="34" charset="0"/>
        <a:buChar char="•"/>
        <a:defRPr sz="2804" kern="1200">
          <a:solidFill>
            <a:schemeClr val="tx1"/>
          </a:solidFill>
          <a:latin typeface="+mn-lt"/>
          <a:ea typeface="+mn-ea"/>
          <a:cs typeface="+mn-cs"/>
        </a:defRPr>
      </a:lvl1pPr>
      <a:lvl2pPr marL="686897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2404" kern="1200">
          <a:solidFill>
            <a:schemeClr val="tx1"/>
          </a:solidFill>
          <a:latin typeface="+mn-lt"/>
          <a:ea typeface="+mn-ea"/>
          <a:cs typeface="+mn-cs"/>
        </a:defRPr>
      </a:lvl2pPr>
      <a:lvl3pPr marL="1144829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2003" kern="1200">
          <a:solidFill>
            <a:schemeClr val="tx1"/>
          </a:solidFill>
          <a:latin typeface="+mn-lt"/>
          <a:ea typeface="+mn-ea"/>
          <a:cs typeface="+mn-cs"/>
        </a:defRPr>
      </a:lvl3pPr>
      <a:lvl4pPr marL="1602760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4pPr>
      <a:lvl5pPr marL="2060692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5pPr>
      <a:lvl6pPr marL="2518623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6pPr>
      <a:lvl7pPr marL="2976555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7pPr>
      <a:lvl8pPr marL="3434486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8pPr>
      <a:lvl9pPr marL="3892418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1pPr>
      <a:lvl2pPr marL="457932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2pPr>
      <a:lvl3pPr marL="915863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3pPr>
      <a:lvl4pPr marL="1373795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4pPr>
      <a:lvl5pPr marL="1831726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5pPr>
      <a:lvl6pPr marL="2289658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6pPr>
      <a:lvl7pPr marL="2747589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7pPr>
      <a:lvl8pPr marL="3205521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8pPr>
      <a:lvl9pPr marL="3663452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5832821-126D-4043-B0FF-C1B780B2E30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972" y="-8627"/>
            <a:ext cx="12255900" cy="2760453"/>
          </a:xfrm>
          <a:prstGeom prst="rect">
            <a:avLst/>
          </a:prstGeom>
        </p:spPr>
      </p:pic>
      <p:sp>
        <p:nvSpPr>
          <p:cNvPr id="3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D31F0A64-C563-48E2-82F3-7053555959FF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7162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</p:sldLayoutIdLst>
  <p:txStyles>
    <p:titleStyle>
      <a:lvl1pPr algn="l" defTabSz="913573" rtl="0" eaLnBrk="1" latinLnBrk="0" hangingPunct="1">
        <a:lnSpc>
          <a:spcPct val="90000"/>
        </a:lnSpc>
        <a:spcBef>
          <a:spcPct val="0"/>
        </a:spcBef>
        <a:buNone/>
        <a:defRPr sz="439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394" indent="-228394" algn="l" defTabSz="91357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7" kern="1200">
          <a:solidFill>
            <a:schemeClr val="tx1"/>
          </a:solidFill>
          <a:latin typeface="+mn-lt"/>
          <a:ea typeface="+mn-ea"/>
          <a:cs typeface="+mn-cs"/>
        </a:defRPr>
      </a:lvl1pPr>
      <a:lvl2pPr marL="685181" indent="-228394" algn="l" defTabSz="9135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141967" indent="-228394" algn="l" defTabSz="9135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3pPr>
      <a:lvl4pPr marL="1598754" indent="-228394" algn="l" defTabSz="9135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2055541" indent="-228394" algn="l" defTabSz="9135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512327" indent="-228394" algn="l" defTabSz="9135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69114" indent="-228394" algn="l" defTabSz="9135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901" indent="-228394" algn="l" defTabSz="9135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687" indent="-228394" algn="l" defTabSz="9135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573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87" algn="l" defTabSz="913573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573" algn="l" defTabSz="913573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360" algn="l" defTabSz="913573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147" algn="l" defTabSz="913573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933" algn="l" defTabSz="913573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720" algn="l" defTabSz="913573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507" algn="l" defTabSz="913573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4294" algn="l" defTabSz="913573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44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9769B41-C43D-954F-89D9-4A58FDCD1C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590879" y="8057"/>
            <a:ext cx="6620171" cy="6875463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442F29B-754C-6F40-8900-EC7CF2527D2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246081" y="0"/>
            <a:ext cx="2366128" cy="2366128"/>
          </a:xfrm>
          <a:prstGeom prst="rect">
            <a:avLst/>
          </a:prstGeom>
        </p:spPr>
      </p:pic>
      <p:cxnSp>
        <p:nvCxnSpPr>
          <p:cNvPr id="11" name="Gerader Verbinder 3">
            <a:extLst>
              <a:ext uri="{FF2B5EF4-FFF2-40B4-BE49-F238E27FC236}">
                <a16:creationId xmlns:a16="http://schemas.microsoft.com/office/drawing/2014/main" id="{BD5BC66E-DA59-7B41-BA28-CA709789F04C}"/>
              </a:ext>
            </a:extLst>
          </p:cNvPr>
          <p:cNvCxnSpPr/>
          <p:nvPr userDrawn="1"/>
        </p:nvCxnSpPr>
        <p:spPr bwMode="gray">
          <a:xfrm flipV="1">
            <a:off x="5400525" y="-180946"/>
            <a:ext cx="2353334" cy="7253470"/>
          </a:xfrm>
          <a:prstGeom prst="line">
            <a:avLst/>
          </a:prstGeom>
          <a:ln w="12700">
            <a:solidFill>
              <a:srgbClr val="68B5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70ABA3DF-BF2E-46A3-B34F-1242F2F9E9F4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428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4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3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4.12897E-6 1.85185E-6 L 0.0104 1.85185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txStyles>
    <p:titleStyle>
      <a:lvl1pPr algn="l" defTabSz="915863" rtl="0" eaLnBrk="1" latinLnBrk="0" hangingPunct="1">
        <a:lnSpc>
          <a:spcPct val="90000"/>
        </a:lnSpc>
        <a:spcBef>
          <a:spcPct val="0"/>
        </a:spcBef>
        <a:buNone/>
        <a:defRPr sz="440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966" indent="-228966" algn="l" defTabSz="915863" rtl="0" eaLnBrk="1" latinLnBrk="0" hangingPunct="1">
        <a:lnSpc>
          <a:spcPct val="90000"/>
        </a:lnSpc>
        <a:spcBef>
          <a:spcPts val="1002"/>
        </a:spcBef>
        <a:buFont typeface="Arial" panose="020B0604020202020204" pitchFamily="34" charset="0"/>
        <a:buChar char="•"/>
        <a:defRPr sz="2804" kern="1200">
          <a:solidFill>
            <a:schemeClr val="tx1"/>
          </a:solidFill>
          <a:latin typeface="+mn-lt"/>
          <a:ea typeface="+mn-ea"/>
          <a:cs typeface="+mn-cs"/>
        </a:defRPr>
      </a:lvl1pPr>
      <a:lvl2pPr marL="686897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2404" kern="1200">
          <a:solidFill>
            <a:schemeClr val="tx1"/>
          </a:solidFill>
          <a:latin typeface="+mn-lt"/>
          <a:ea typeface="+mn-ea"/>
          <a:cs typeface="+mn-cs"/>
        </a:defRPr>
      </a:lvl2pPr>
      <a:lvl3pPr marL="1144829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2003" kern="1200">
          <a:solidFill>
            <a:schemeClr val="tx1"/>
          </a:solidFill>
          <a:latin typeface="+mn-lt"/>
          <a:ea typeface="+mn-ea"/>
          <a:cs typeface="+mn-cs"/>
        </a:defRPr>
      </a:lvl3pPr>
      <a:lvl4pPr marL="1602760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4pPr>
      <a:lvl5pPr marL="2060692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5pPr>
      <a:lvl6pPr marL="2518623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6pPr>
      <a:lvl7pPr marL="2976555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7pPr>
      <a:lvl8pPr marL="3434486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8pPr>
      <a:lvl9pPr marL="3892418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1pPr>
      <a:lvl2pPr marL="457932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2pPr>
      <a:lvl3pPr marL="915863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3pPr>
      <a:lvl4pPr marL="1373795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4pPr>
      <a:lvl5pPr marL="1831726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5pPr>
      <a:lvl6pPr marL="2289658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6pPr>
      <a:lvl7pPr marL="2747589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7pPr>
      <a:lvl8pPr marL="3205521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8pPr>
      <a:lvl9pPr marL="3663452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2">
            <a:extLst>
              <a:ext uri="{FF2B5EF4-FFF2-40B4-BE49-F238E27FC236}">
                <a16:creationId xmlns:a16="http://schemas.microsoft.com/office/drawing/2014/main" id="{DD395ED0-5043-0843-BE0E-110267A100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527056" y="0"/>
            <a:ext cx="6683994" cy="6875463"/>
          </a:xfrm>
          <a:prstGeom prst="rect">
            <a:avLst/>
          </a:prstGeom>
        </p:spPr>
      </p:pic>
      <p:cxnSp>
        <p:nvCxnSpPr>
          <p:cNvPr id="10" name="Gerader Verbinder 3">
            <a:extLst>
              <a:ext uri="{FF2B5EF4-FFF2-40B4-BE49-F238E27FC236}">
                <a16:creationId xmlns:a16="http://schemas.microsoft.com/office/drawing/2014/main" id="{DD484B09-EAFA-504D-A975-BAA9341CBEA0}"/>
              </a:ext>
            </a:extLst>
          </p:cNvPr>
          <p:cNvCxnSpPr/>
          <p:nvPr userDrawn="1"/>
        </p:nvCxnSpPr>
        <p:spPr bwMode="gray">
          <a:xfrm flipV="1">
            <a:off x="5400525" y="-180946"/>
            <a:ext cx="2353334" cy="7253470"/>
          </a:xfrm>
          <a:prstGeom prst="line">
            <a:avLst/>
          </a:prstGeom>
          <a:ln w="12700">
            <a:solidFill>
              <a:srgbClr val="68B5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E74DE50-C16E-3A4E-87B6-9FB7A0D8781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246081" y="0"/>
            <a:ext cx="2366128" cy="2366128"/>
          </a:xfrm>
          <a:prstGeom prst="rect">
            <a:avLst/>
          </a:prstGeom>
        </p:spPr>
      </p:pic>
      <p:sp>
        <p:nvSpPr>
          <p:cNvPr id="3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DF6DE4B3-5A66-42E9-8888-02A5987ED0BF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274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4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3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4.12897E-6 1.85185E-6 L 0.0104 1.85185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txStyles>
    <p:titleStyle>
      <a:lvl1pPr algn="l" defTabSz="915863" rtl="0" eaLnBrk="1" latinLnBrk="0" hangingPunct="1">
        <a:lnSpc>
          <a:spcPct val="90000"/>
        </a:lnSpc>
        <a:spcBef>
          <a:spcPct val="0"/>
        </a:spcBef>
        <a:buNone/>
        <a:defRPr sz="440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966" indent="-228966" algn="l" defTabSz="915863" rtl="0" eaLnBrk="1" latinLnBrk="0" hangingPunct="1">
        <a:lnSpc>
          <a:spcPct val="90000"/>
        </a:lnSpc>
        <a:spcBef>
          <a:spcPts val="1002"/>
        </a:spcBef>
        <a:buFont typeface="Arial" panose="020B0604020202020204" pitchFamily="34" charset="0"/>
        <a:buChar char="•"/>
        <a:defRPr sz="2804" kern="1200">
          <a:solidFill>
            <a:schemeClr val="tx1"/>
          </a:solidFill>
          <a:latin typeface="+mn-lt"/>
          <a:ea typeface="+mn-ea"/>
          <a:cs typeface="+mn-cs"/>
        </a:defRPr>
      </a:lvl1pPr>
      <a:lvl2pPr marL="686897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2404" kern="1200">
          <a:solidFill>
            <a:schemeClr val="tx1"/>
          </a:solidFill>
          <a:latin typeface="+mn-lt"/>
          <a:ea typeface="+mn-ea"/>
          <a:cs typeface="+mn-cs"/>
        </a:defRPr>
      </a:lvl2pPr>
      <a:lvl3pPr marL="1144829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2003" kern="1200">
          <a:solidFill>
            <a:schemeClr val="tx1"/>
          </a:solidFill>
          <a:latin typeface="+mn-lt"/>
          <a:ea typeface="+mn-ea"/>
          <a:cs typeface="+mn-cs"/>
        </a:defRPr>
      </a:lvl3pPr>
      <a:lvl4pPr marL="1602760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4pPr>
      <a:lvl5pPr marL="2060692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5pPr>
      <a:lvl6pPr marL="2518623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6pPr>
      <a:lvl7pPr marL="2976555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7pPr>
      <a:lvl8pPr marL="3434486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8pPr>
      <a:lvl9pPr marL="3892418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1pPr>
      <a:lvl2pPr marL="457932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2pPr>
      <a:lvl3pPr marL="915863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3pPr>
      <a:lvl4pPr marL="1373795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4pPr>
      <a:lvl5pPr marL="1831726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5pPr>
      <a:lvl6pPr marL="2289658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6pPr>
      <a:lvl7pPr marL="2747589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7pPr>
      <a:lvl8pPr marL="3205521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8pPr>
      <a:lvl9pPr marL="3663452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44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>
            <a:extLst>
              <a:ext uri="{FF2B5EF4-FFF2-40B4-BE49-F238E27FC236}">
                <a16:creationId xmlns:a16="http://schemas.microsoft.com/office/drawing/2014/main" id="{11E6D0FF-CF3B-014C-B751-E238F0967C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9848" y="655646"/>
            <a:ext cx="526971" cy="527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2">
            <a:extLst>
              <a:ext uri="{FF2B5EF4-FFF2-40B4-BE49-F238E27FC236}">
                <a16:creationId xmlns:a16="http://schemas.microsoft.com/office/drawing/2014/main" id="{48385BC9-C8A6-894A-81AD-0EA6FAA1BB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5527056" y="0"/>
            <a:ext cx="6683994" cy="6875463"/>
          </a:xfrm>
          <a:prstGeom prst="rect">
            <a:avLst/>
          </a:prstGeom>
        </p:spPr>
      </p:pic>
      <p:cxnSp>
        <p:nvCxnSpPr>
          <p:cNvPr id="9" name="Gerader Verbinder 3">
            <a:extLst>
              <a:ext uri="{FF2B5EF4-FFF2-40B4-BE49-F238E27FC236}">
                <a16:creationId xmlns:a16="http://schemas.microsoft.com/office/drawing/2014/main" id="{0A329BA4-3D32-A34B-8DF9-0191D3EC4698}"/>
              </a:ext>
            </a:extLst>
          </p:cNvPr>
          <p:cNvCxnSpPr/>
          <p:nvPr userDrawn="1"/>
        </p:nvCxnSpPr>
        <p:spPr bwMode="gray">
          <a:xfrm flipV="1">
            <a:off x="5400525" y="-180946"/>
            <a:ext cx="2353334" cy="7253470"/>
          </a:xfrm>
          <a:prstGeom prst="line">
            <a:avLst/>
          </a:prstGeom>
          <a:ln w="12700">
            <a:solidFill>
              <a:srgbClr val="68B5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B85D5901-512E-4B42-9FC5-C47ED8C5057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246081" y="0"/>
            <a:ext cx="2366128" cy="2366128"/>
          </a:xfrm>
          <a:prstGeom prst="rect">
            <a:avLst/>
          </a:prstGeom>
        </p:spPr>
      </p:pic>
      <p:sp>
        <p:nvSpPr>
          <p:cNvPr id="3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2E5A0741-3CF3-4AE3-945E-DBF436B4F86A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104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4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3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4.12897E-6 1.85185E-6 L 0.0104 1.85185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txStyles>
    <p:titleStyle>
      <a:lvl1pPr algn="l" defTabSz="915863" rtl="0" eaLnBrk="1" latinLnBrk="0" hangingPunct="1">
        <a:lnSpc>
          <a:spcPct val="90000"/>
        </a:lnSpc>
        <a:spcBef>
          <a:spcPct val="0"/>
        </a:spcBef>
        <a:buNone/>
        <a:defRPr sz="440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966" indent="-228966" algn="l" defTabSz="915863" rtl="0" eaLnBrk="1" latinLnBrk="0" hangingPunct="1">
        <a:lnSpc>
          <a:spcPct val="90000"/>
        </a:lnSpc>
        <a:spcBef>
          <a:spcPts val="1002"/>
        </a:spcBef>
        <a:buFont typeface="Arial" panose="020B0604020202020204" pitchFamily="34" charset="0"/>
        <a:buChar char="•"/>
        <a:defRPr sz="2804" kern="1200">
          <a:solidFill>
            <a:schemeClr val="tx1"/>
          </a:solidFill>
          <a:latin typeface="+mn-lt"/>
          <a:ea typeface="+mn-ea"/>
          <a:cs typeface="+mn-cs"/>
        </a:defRPr>
      </a:lvl1pPr>
      <a:lvl2pPr marL="686897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2404" kern="1200">
          <a:solidFill>
            <a:schemeClr val="tx1"/>
          </a:solidFill>
          <a:latin typeface="+mn-lt"/>
          <a:ea typeface="+mn-ea"/>
          <a:cs typeface="+mn-cs"/>
        </a:defRPr>
      </a:lvl2pPr>
      <a:lvl3pPr marL="1144829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2003" kern="1200">
          <a:solidFill>
            <a:schemeClr val="tx1"/>
          </a:solidFill>
          <a:latin typeface="+mn-lt"/>
          <a:ea typeface="+mn-ea"/>
          <a:cs typeface="+mn-cs"/>
        </a:defRPr>
      </a:lvl3pPr>
      <a:lvl4pPr marL="1602760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4pPr>
      <a:lvl5pPr marL="2060692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5pPr>
      <a:lvl6pPr marL="2518623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6pPr>
      <a:lvl7pPr marL="2976555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7pPr>
      <a:lvl8pPr marL="3434486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8pPr>
      <a:lvl9pPr marL="3892418" indent="-228966" algn="l" defTabSz="915863" rtl="0" eaLnBrk="1" latinLnBrk="0" hangingPunct="1">
        <a:lnSpc>
          <a:spcPct val="90000"/>
        </a:lnSpc>
        <a:spcBef>
          <a:spcPts val="501"/>
        </a:spcBef>
        <a:buFont typeface="Arial" panose="020B0604020202020204" pitchFamily="34" charset="0"/>
        <a:buChar char="•"/>
        <a:defRPr sz="180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1pPr>
      <a:lvl2pPr marL="457932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2pPr>
      <a:lvl3pPr marL="915863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3pPr>
      <a:lvl4pPr marL="1373795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4pPr>
      <a:lvl5pPr marL="1831726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5pPr>
      <a:lvl6pPr marL="2289658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6pPr>
      <a:lvl7pPr marL="2747589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7pPr>
      <a:lvl8pPr marL="3205521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8pPr>
      <a:lvl9pPr marL="3663452" algn="l" defTabSz="915863" rtl="0" eaLnBrk="1" latinLnBrk="0" hangingPunct="1">
        <a:defRPr sz="18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44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87">
            <a:extLst>
              <a:ext uri="{FF2B5EF4-FFF2-40B4-BE49-F238E27FC236}">
                <a16:creationId xmlns:a16="http://schemas.microsoft.com/office/drawing/2014/main" id="{66D5E51B-262D-FE45-B067-8F7532CACBD8}"/>
              </a:ext>
            </a:extLst>
          </p:cNvPr>
          <p:cNvGrpSpPr/>
          <p:nvPr userDrawn="1"/>
        </p:nvGrpSpPr>
        <p:grpSpPr>
          <a:xfrm>
            <a:off x="0" y="1318378"/>
            <a:ext cx="1522091" cy="300155"/>
            <a:chOff x="-4484" y="3050368"/>
            <a:chExt cx="1806272" cy="356195"/>
          </a:xfrm>
        </p:grpSpPr>
        <p:cxnSp>
          <p:nvCxnSpPr>
            <p:cNvPr id="9" name="Gerade Verbindung 125">
              <a:extLst>
                <a:ext uri="{FF2B5EF4-FFF2-40B4-BE49-F238E27FC236}">
                  <a16:creationId xmlns:a16="http://schemas.microsoft.com/office/drawing/2014/main" id="{CEF1EAEF-585C-C241-9009-D34FEC069BE2}"/>
                </a:ext>
              </a:extLst>
            </p:cNvPr>
            <p:cNvCxnSpPr/>
            <p:nvPr/>
          </p:nvCxnSpPr>
          <p:spPr bwMode="gray">
            <a:xfrm rot="900000" flipV="1">
              <a:off x="358032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26">
              <a:extLst>
                <a:ext uri="{FF2B5EF4-FFF2-40B4-BE49-F238E27FC236}">
                  <a16:creationId xmlns:a16="http://schemas.microsoft.com/office/drawing/2014/main" id="{79137D99-5CB8-1742-AE2E-96DE3D191D22}"/>
                </a:ext>
              </a:extLst>
            </p:cNvPr>
            <p:cNvCxnSpPr/>
            <p:nvPr/>
          </p:nvCxnSpPr>
          <p:spPr bwMode="gray">
            <a:xfrm rot="900000" flipV="1">
              <a:off x="430221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27">
              <a:extLst>
                <a:ext uri="{FF2B5EF4-FFF2-40B4-BE49-F238E27FC236}">
                  <a16:creationId xmlns:a16="http://schemas.microsoft.com/office/drawing/2014/main" id="{8ED3507B-8D5A-2C40-AFE7-95F88ACD951E}"/>
                </a:ext>
              </a:extLst>
            </p:cNvPr>
            <p:cNvCxnSpPr/>
            <p:nvPr/>
          </p:nvCxnSpPr>
          <p:spPr bwMode="gray">
            <a:xfrm rot="900000" flipV="1">
              <a:off x="502407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28">
              <a:extLst>
                <a:ext uri="{FF2B5EF4-FFF2-40B4-BE49-F238E27FC236}">
                  <a16:creationId xmlns:a16="http://schemas.microsoft.com/office/drawing/2014/main" id="{B93B36E4-78E0-294A-9E33-3D8E8D98F0FE}"/>
                </a:ext>
              </a:extLst>
            </p:cNvPr>
            <p:cNvCxnSpPr/>
            <p:nvPr/>
          </p:nvCxnSpPr>
          <p:spPr bwMode="gray">
            <a:xfrm rot="900000" flipV="1">
              <a:off x="574596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9">
              <a:extLst>
                <a:ext uri="{FF2B5EF4-FFF2-40B4-BE49-F238E27FC236}">
                  <a16:creationId xmlns:a16="http://schemas.microsoft.com/office/drawing/2014/main" id="{3AD84200-0236-5945-8AAF-C45E42D76A95}"/>
                </a:ext>
              </a:extLst>
            </p:cNvPr>
            <p:cNvCxnSpPr/>
            <p:nvPr/>
          </p:nvCxnSpPr>
          <p:spPr bwMode="gray">
            <a:xfrm rot="900000" flipV="1">
              <a:off x="64678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0">
              <a:extLst>
                <a:ext uri="{FF2B5EF4-FFF2-40B4-BE49-F238E27FC236}">
                  <a16:creationId xmlns:a16="http://schemas.microsoft.com/office/drawing/2014/main" id="{2258C9AF-6F6D-EF4B-A7F8-ED518AB18A36}"/>
                </a:ext>
              </a:extLst>
            </p:cNvPr>
            <p:cNvCxnSpPr/>
            <p:nvPr/>
          </p:nvCxnSpPr>
          <p:spPr bwMode="gray">
            <a:xfrm rot="900000" flipV="1">
              <a:off x="718971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31">
              <a:extLst>
                <a:ext uri="{FF2B5EF4-FFF2-40B4-BE49-F238E27FC236}">
                  <a16:creationId xmlns:a16="http://schemas.microsoft.com/office/drawing/2014/main" id="{0EBAA9F4-1429-4446-A712-44360450CB19}"/>
                </a:ext>
              </a:extLst>
            </p:cNvPr>
            <p:cNvCxnSpPr/>
            <p:nvPr/>
          </p:nvCxnSpPr>
          <p:spPr bwMode="gray">
            <a:xfrm rot="900000" flipV="1">
              <a:off x="79115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32">
              <a:extLst>
                <a:ext uri="{FF2B5EF4-FFF2-40B4-BE49-F238E27FC236}">
                  <a16:creationId xmlns:a16="http://schemas.microsoft.com/office/drawing/2014/main" id="{1377C9E3-E6A6-5845-AE96-BA8F7C44A3E4}"/>
                </a:ext>
              </a:extLst>
            </p:cNvPr>
            <p:cNvCxnSpPr/>
            <p:nvPr/>
          </p:nvCxnSpPr>
          <p:spPr bwMode="gray">
            <a:xfrm rot="900000" flipV="1">
              <a:off x="863347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33">
              <a:extLst>
                <a:ext uri="{FF2B5EF4-FFF2-40B4-BE49-F238E27FC236}">
                  <a16:creationId xmlns:a16="http://schemas.microsoft.com/office/drawing/2014/main" id="{BB3A9B89-03CE-E447-930F-235FE0F3EB00}"/>
                </a:ext>
              </a:extLst>
            </p:cNvPr>
            <p:cNvCxnSpPr/>
            <p:nvPr/>
          </p:nvCxnSpPr>
          <p:spPr bwMode="gray">
            <a:xfrm rot="900000" flipV="1">
              <a:off x="935534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34">
              <a:extLst>
                <a:ext uri="{FF2B5EF4-FFF2-40B4-BE49-F238E27FC236}">
                  <a16:creationId xmlns:a16="http://schemas.microsoft.com/office/drawing/2014/main" id="{BDE037D6-605A-D143-97C8-4E701FA98696}"/>
                </a:ext>
              </a:extLst>
            </p:cNvPr>
            <p:cNvCxnSpPr/>
            <p:nvPr/>
          </p:nvCxnSpPr>
          <p:spPr bwMode="gray">
            <a:xfrm rot="900000" flipV="1">
              <a:off x="100772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5">
              <a:extLst>
                <a:ext uri="{FF2B5EF4-FFF2-40B4-BE49-F238E27FC236}">
                  <a16:creationId xmlns:a16="http://schemas.microsoft.com/office/drawing/2014/main" id="{227EC64C-F240-694A-AFC0-E91031ECDEC9}"/>
                </a:ext>
              </a:extLst>
            </p:cNvPr>
            <p:cNvCxnSpPr/>
            <p:nvPr/>
          </p:nvCxnSpPr>
          <p:spPr bwMode="gray">
            <a:xfrm rot="900000" flipV="1">
              <a:off x="107990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36">
              <a:extLst>
                <a:ext uri="{FF2B5EF4-FFF2-40B4-BE49-F238E27FC236}">
                  <a16:creationId xmlns:a16="http://schemas.microsoft.com/office/drawing/2014/main" id="{DBBC2B0E-90B3-3C48-B425-5B2E4C9D3862}"/>
                </a:ext>
              </a:extLst>
            </p:cNvPr>
            <p:cNvCxnSpPr/>
            <p:nvPr/>
          </p:nvCxnSpPr>
          <p:spPr bwMode="gray">
            <a:xfrm rot="900000" flipV="1">
              <a:off x="1152097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37">
              <a:extLst>
                <a:ext uri="{FF2B5EF4-FFF2-40B4-BE49-F238E27FC236}">
                  <a16:creationId xmlns:a16="http://schemas.microsoft.com/office/drawing/2014/main" id="{F56B5200-858B-F840-971D-407CDE4396EC}"/>
                </a:ext>
              </a:extLst>
            </p:cNvPr>
            <p:cNvCxnSpPr/>
            <p:nvPr/>
          </p:nvCxnSpPr>
          <p:spPr bwMode="gray">
            <a:xfrm rot="900000" flipV="1">
              <a:off x="1224286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38">
              <a:extLst>
                <a:ext uri="{FF2B5EF4-FFF2-40B4-BE49-F238E27FC236}">
                  <a16:creationId xmlns:a16="http://schemas.microsoft.com/office/drawing/2014/main" id="{9B4B4825-6A11-7C4C-8354-61CFF47105B3}"/>
                </a:ext>
              </a:extLst>
            </p:cNvPr>
            <p:cNvCxnSpPr/>
            <p:nvPr/>
          </p:nvCxnSpPr>
          <p:spPr bwMode="gray">
            <a:xfrm rot="900000" flipV="1">
              <a:off x="1296472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13">
              <a:extLst>
                <a:ext uri="{FF2B5EF4-FFF2-40B4-BE49-F238E27FC236}">
                  <a16:creationId xmlns:a16="http://schemas.microsoft.com/office/drawing/2014/main" id="{E401B3FD-1077-764D-B558-31A0B205D30B}"/>
                </a:ext>
              </a:extLst>
            </p:cNvPr>
            <p:cNvCxnSpPr/>
            <p:nvPr/>
          </p:nvCxnSpPr>
          <p:spPr bwMode="gray">
            <a:xfrm rot="900000" flipV="1">
              <a:off x="1368661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14">
              <a:extLst>
                <a:ext uri="{FF2B5EF4-FFF2-40B4-BE49-F238E27FC236}">
                  <a16:creationId xmlns:a16="http://schemas.microsoft.com/office/drawing/2014/main" id="{C9669489-3066-EA45-9A7F-6C00019DB7F9}"/>
                </a:ext>
              </a:extLst>
            </p:cNvPr>
            <p:cNvCxnSpPr/>
            <p:nvPr/>
          </p:nvCxnSpPr>
          <p:spPr bwMode="gray">
            <a:xfrm rot="900000" flipV="1">
              <a:off x="144084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15">
              <a:extLst>
                <a:ext uri="{FF2B5EF4-FFF2-40B4-BE49-F238E27FC236}">
                  <a16:creationId xmlns:a16="http://schemas.microsoft.com/office/drawing/2014/main" id="{8FA05164-A98E-F340-A4C5-4F074C3D9E91}"/>
                </a:ext>
              </a:extLst>
            </p:cNvPr>
            <p:cNvCxnSpPr/>
            <p:nvPr/>
          </p:nvCxnSpPr>
          <p:spPr bwMode="gray">
            <a:xfrm rot="900000" flipV="1">
              <a:off x="1513036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16">
              <a:extLst>
                <a:ext uri="{FF2B5EF4-FFF2-40B4-BE49-F238E27FC236}">
                  <a16:creationId xmlns:a16="http://schemas.microsoft.com/office/drawing/2014/main" id="{E75687DA-2F82-054B-B15A-E9D0046CEA3E}"/>
                </a:ext>
              </a:extLst>
            </p:cNvPr>
            <p:cNvCxnSpPr/>
            <p:nvPr/>
          </p:nvCxnSpPr>
          <p:spPr bwMode="gray">
            <a:xfrm rot="900000" flipV="1">
              <a:off x="1585224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17">
              <a:extLst>
                <a:ext uri="{FF2B5EF4-FFF2-40B4-BE49-F238E27FC236}">
                  <a16:creationId xmlns:a16="http://schemas.microsoft.com/office/drawing/2014/main" id="{EEE36DBA-9866-BC41-A56C-95E725F5C0F6}"/>
                </a:ext>
              </a:extLst>
            </p:cNvPr>
            <p:cNvCxnSpPr/>
            <p:nvPr/>
          </p:nvCxnSpPr>
          <p:spPr bwMode="gray">
            <a:xfrm rot="900000" flipV="1">
              <a:off x="165741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118">
              <a:extLst>
                <a:ext uri="{FF2B5EF4-FFF2-40B4-BE49-F238E27FC236}">
                  <a16:creationId xmlns:a16="http://schemas.microsoft.com/office/drawing/2014/main" id="{6C8C3399-CDF4-A340-BA88-2FC40D1DE4F3}"/>
                </a:ext>
              </a:extLst>
            </p:cNvPr>
            <p:cNvCxnSpPr/>
            <p:nvPr/>
          </p:nvCxnSpPr>
          <p:spPr bwMode="gray">
            <a:xfrm rot="900000" flipV="1">
              <a:off x="172959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119">
              <a:extLst>
                <a:ext uri="{FF2B5EF4-FFF2-40B4-BE49-F238E27FC236}">
                  <a16:creationId xmlns:a16="http://schemas.microsoft.com/office/drawing/2014/main" id="{A225FB89-0CC4-6B4D-8038-31367F7C3EFF}"/>
                </a:ext>
              </a:extLst>
            </p:cNvPr>
            <p:cNvCxnSpPr/>
            <p:nvPr/>
          </p:nvCxnSpPr>
          <p:spPr bwMode="gray">
            <a:xfrm rot="900000" flipV="1">
              <a:off x="1801788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115">
              <a:extLst>
                <a:ext uri="{FF2B5EF4-FFF2-40B4-BE49-F238E27FC236}">
                  <a16:creationId xmlns:a16="http://schemas.microsoft.com/office/drawing/2014/main" id="{6A7DC64D-FFD9-8047-A251-604ACB2103AD}"/>
                </a:ext>
              </a:extLst>
            </p:cNvPr>
            <p:cNvCxnSpPr/>
            <p:nvPr/>
          </p:nvCxnSpPr>
          <p:spPr bwMode="gray">
            <a:xfrm rot="900000" flipV="1">
              <a:off x="-4484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116">
              <a:extLst>
                <a:ext uri="{FF2B5EF4-FFF2-40B4-BE49-F238E27FC236}">
                  <a16:creationId xmlns:a16="http://schemas.microsoft.com/office/drawing/2014/main" id="{0FC6832B-DFCC-344C-81C3-F23328222B6D}"/>
                </a:ext>
              </a:extLst>
            </p:cNvPr>
            <p:cNvCxnSpPr/>
            <p:nvPr/>
          </p:nvCxnSpPr>
          <p:spPr bwMode="gray">
            <a:xfrm rot="900000" flipV="1">
              <a:off x="67704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117">
              <a:extLst>
                <a:ext uri="{FF2B5EF4-FFF2-40B4-BE49-F238E27FC236}">
                  <a16:creationId xmlns:a16="http://schemas.microsoft.com/office/drawing/2014/main" id="{91197529-E16E-4048-9740-5F3542F44E81}"/>
                </a:ext>
              </a:extLst>
            </p:cNvPr>
            <p:cNvCxnSpPr/>
            <p:nvPr/>
          </p:nvCxnSpPr>
          <p:spPr bwMode="gray">
            <a:xfrm rot="900000" flipV="1">
              <a:off x="13989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118">
              <a:extLst>
                <a:ext uri="{FF2B5EF4-FFF2-40B4-BE49-F238E27FC236}">
                  <a16:creationId xmlns:a16="http://schemas.microsoft.com/office/drawing/2014/main" id="{7B8C0E04-450F-844E-B209-ACD840B2D443}"/>
                </a:ext>
              </a:extLst>
            </p:cNvPr>
            <p:cNvCxnSpPr/>
            <p:nvPr/>
          </p:nvCxnSpPr>
          <p:spPr bwMode="gray">
            <a:xfrm rot="900000" flipV="1">
              <a:off x="21207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119">
              <a:extLst>
                <a:ext uri="{FF2B5EF4-FFF2-40B4-BE49-F238E27FC236}">
                  <a16:creationId xmlns:a16="http://schemas.microsoft.com/office/drawing/2014/main" id="{0FB1FEBC-7DB2-934F-94E5-0B067F210B13}"/>
                </a:ext>
              </a:extLst>
            </p:cNvPr>
            <p:cNvCxnSpPr/>
            <p:nvPr/>
          </p:nvCxnSpPr>
          <p:spPr bwMode="gray">
            <a:xfrm rot="900000" flipV="1">
              <a:off x="284268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7" name="Picture 2">
            <a:extLst>
              <a:ext uri="{FF2B5EF4-FFF2-40B4-BE49-F238E27FC236}">
                <a16:creationId xmlns:a16="http://schemas.microsoft.com/office/drawing/2014/main" id="{CB1254F8-3EB3-924D-9C94-1E81CA4A0D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9848" y="655646"/>
            <a:ext cx="526971" cy="527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3B38EB9B-F044-4D41-86CD-F5FC43E99D9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246081" y="0"/>
            <a:ext cx="2366128" cy="2366128"/>
          </a:xfrm>
          <a:prstGeom prst="rect">
            <a:avLst/>
          </a:prstGeom>
        </p:spPr>
      </p:pic>
      <p:sp>
        <p:nvSpPr>
          <p:cNvPr id="3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60F13310-BB5B-4CCC-B201-BD8BAD9E21E8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0243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 p14:presetBounceEnd="50000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44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Gerader Verbinder 99">
            <a:extLst>
              <a:ext uri="{FF2B5EF4-FFF2-40B4-BE49-F238E27FC236}">
                <a16:creationId xmlns:a16="http://schemas.microsoft.com/office/drawing/2014/main" id="{51D3B37E-BB16-EE40-A83D-4717551052F0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4319563" y="0"/>
            <a:ext cx="3805340" cy="7002797"/>
          </a:xfrm>
          <a:prstGeom prst="line">
            <a:avLst/>
          </a:prstGeom>
          <a:ln w="12700">
            <a:solidFill>
              <a:srgbClr val="68B5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uppieren 100">
            <a:extLst>
              <a:ext uri="{FF2B5EF4-FFF2-40B4-BE49-F238E27FC236}">
                <a16:creationId xmlns:a16="http://schemas.microsoft.com/office/drawing/2014/main" id="{01831870-A968-344D-8BDF-4AF5C0E4B670}"/>
              </a:ext>
            </a:extLst>
          </p:cNvPr>
          <p:cNvGrpSpPr/>
          <p:nvPr userDrawn="1"/>
        </p:nvGrpSpPr>
        <p:grpSpPr>
          <a:xfrm>
            <a:off x="1283028" y="2572766"/>
            <a:ext cx="1472752" cy="454186"/>
            <a:chOff x="646783" y="3050368"/>
            <a:chExt cx="1155005" cy="356195"/>
          </a:xfrm>
        </p:grpSpPr>
        <p:cxnSp>
          <p:nvCxnSpPr>
            <p:cNvPr id="39" name="Gerade Verbindung 129">
              <a:extLst>
                <a:ext uri="{FF2B5EF4-FFF2-40B4-BE49-F238E27FC236}">
                  <a16:creationId xmlns:a16="http://schemas.microsoft.com/office/drawing/2014/main" id="{4CE5063E-D93D-5C4A-812E-331C029B23D2}"/>
                </a:ext>
              </a:extLst>
            </p:cNvPr>
            <p:cNvCxnSpPr/>
            <p:nvPr/>
          </p:nvCxnSpPr>
          <p:spPr bwMode="gray">
            <a:xfrm rot="900000" flipV="1">
              <a:off x="64678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130">
              <a:extLst>
                <a:ext uri="{FF2B5EF4-FFF2-40B4-BE49-F238E27FC236}">
                  <a16:creationId xmlns:a16="http://schemas.microsoft.com/office/drawing/2014/main" id="{D586FC93-DF3C-8D4A-9E92-FF0F7BFB56C9}"/>
                </a:ext>
              </a:extLst>
            </p:cNvPr>
            <p:cNvCxnSpPr/>
            <p:nvPr/>
          </p:nvCxnSpPr>
          <p:spPr bwMode="gray">
            <a:xfrm rot="900000" flipV="1">
              <a:off x="718971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131">
              <a:extLst>
                <a:ext uri="{FF2B5EF4-FFF2-40B4-BE49-F238E27FC236}">
                  <a16:creationId xmlns:a16="http://schemas.microsoft.com/office/drawing/2014/main" id="{4FA4809B-669C-634E-93A2-8EEA0769E4C0}"/>
                </a:ext>
              </a:extLst>
            </p:cNvPr>
            <p:cNvCxnSpPr/>
            <p:nvPr/>
          </p:nvCxnSpPr>
          <p:spPr bwMode="gray">
            <a:xfrm rot="900000" flipV="1">
              <a:off x="79115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132">
              <a:extLst>
                <a:ext uri="{FF2B5EF4-FFF2-40B4-BE49-F238E27FC236}">
                  <a16:creationId xmlns:a16="http://schemas.microsoft.com/office/drawing/2014/main" id="{A5065D3B-0E2B-BD42-8144-8DF73560D20D}"/>
                </a:ext>
              </a:extLst>
            </p:cNvPr>
            <p:cNvCxnSpPr/>
            <p:nvPr/>
          </p:nvCxnSpPr>
          <p:spPr bwMode="gray">
            <a:xfrm rot="900000" flipV="1">
              <a:off x="863347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133">
              <a:extLst>
                <a:ext uri="{FF2B5EF4-FFF2-40B4-BE49-F238E27FC236}">
                  <a16:creationId xmlns:a16="http://schemas.microsoft.com/office/drawing/2014/main" id="{E0E5BD15-E71F-C546-9485-F24EB4766E29}"/>
                </a:ext>
              </a:extLst>
            </p:cNvPr>
            <p:cNvCxnSpPr/>
            <p:nvPr/>
          </p:nvCxnSpPr>
          <p:spPr bwMode="gray">
            <a:xfrm rot="900000" flipV="1">
              <a:off x="935534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134">
              <a:extLst>
                <a:ext uri="{FF2B5EF4-FFF2-40B4-BE49-F238E27FC236}">
                  <a16:creationId xmlns:a16="http://schemas.microsoft.com/office/drawing/2014/main" id="{5924BCFF-3AEA-D348-A7B7-CCB3A2820706}"/>
                </a:ext>
              </a:extLst>
            </p:cNvPr>
            <p:cNvCxnSpPr/>
            <p:nvPr/>
          </p:nvCxnSpPr>
          <p:spPr bwMode="gray">
            <a:xfrm rot="900000" flipV="1">
              <a:off x="100772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135">
              <a:extLst>
                <a:ext uri="{FF2B5EF4-FFF2-40B4-BE49-F238E27FC236}">
                  <a16:creationId xmlns:a16="http://schemas.microsoft.com/office/drawing/2014/main" id="{B0B2D780-7338-564A-81F7-FE01129436B8}"/>
                </a:ext>
              </a:extLst>
            </p:cNvPr>
            <p:cNvCxnSpPr/>
            <p:nvPr/>
          </p:nvCxnSpPr>
          <p:spPr bwMode="gray">
            <a:xfrm rot="900000" flipV="1">
              <a:off x="107990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136">
              <a:extLst>
                <a:ext uri="{FF2B5EF4-FFF2-40B4-BE49-F238E27FC236}">
                  <a16:creationId xmlns:a16="http://schemas.microsoft.com/office/drawing/2014/main" id="{45111905-A992-2F4B-98CA-75A141B5E06C}"/>
                </a:ext>
              </a:extLst>
            </p:cNvPr>
            <p:cNvCxnSpPr/>
            <p:nvPr/>
          </p:nvCxnSpPr>
          <p:spPr bwMode="gray">
            <a:xfrm rot="900000" flipV="1">
              <a:off x="1152097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137">
              <a:extLst>
                <a:ext uri="{FF2B5EF4-FFF2-40B4-BE49-F238E27FC236}">
                  <a16:creationId xmlns:a16="http://schemas.microsoft.com/office/drawing/2014/main" id="{4D8295AA-6E45-8640-BDEE-F7734C85F602}"/>
                </a:ext>
              </a:extLst>
            </p:cNvPr>
            <p:cNvCxnSpPr/>
            <p:nvPr/>
          </p:nvCxnSpPr>
          <p:spPr bwMode="gray">
            <a:xfrm rot="900000" flipV="1">
              <a:off x="1224286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38">
              <a:extLst>
                <a:ext uri="{FF2B5EF4-FFF2-40B4-BE49-F238E27FC236}">
                  <a16:creationId xmlns:a16="http://schemas.microsoft.com/office/drawing/2014/main" id="{0E8CBEDE-D26A-8A47-9C8F-384A19E55652}"/>
                </a:ext>
              </a:extLst>
            </p:cNvPr>
            <p:cNvCxnSpPr/>
            <p:nvPr/>
          </p:nvCxnSpPr>
          <p:spPr bwMode="gray">
            <a:xfrm rot="900000" flipV="1">
              <a:off x="1296472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13">
              <a:extLst>
                <a:ext uri="{FF2B5EF4-FFF2-40B4-BE49-F238E27FC236}">
                  <a16:creationId xmlns:a16="http://schemas.microsoft.com/office/drawing/2014/main" id="{E3C77E28-AB08-0847-807D-35AD8A9636CA}"/>
                </a:ext>
              </a:extLst>
            </p:cNvPr>
            <p:cNvCxnSpPr/>
            <p:nvPr/>
          </p:nvCxnSpPr>
          <p:spPr bwMode="gray">
            <a:xfrm rot="900000" flipV="1">
              <a:off x="1368661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14">
              <a:extLst>
                <a:ext uri="{FF2B5EF4-FFF2-40B4-BE49-F238E27FC236}">
                  <a16:creationId xmlns:a16="http://schemas.microsoft.com/office/drawing/2014/main" id="{8BD54621-8A78-6848-AE1A-4BD30FA23C58}"/>
                </a:ext>
              </a:extLst>
            </p:cNvPr>
            <p:cNvCxnSpPr/>
            <p:nvPr/>
          </p:nvCxnSpPr>
          <p:spPr bwMode="gray">
            <a:xfrm rot="900000" flipV="1">
              <a:off x="144084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15">
              <a:extLst>
                <a:ext uri="{FF2B5EF4-FFF2-40B4-BE49-F238E27FC236}">
                  <a16:creationId xmlns:a16="http://schemas.microsoft.com/office/drawing/2014/main" id="{253D5CB8-0FAB-9E48-A1C2-3207ABFFD182}"/>
                </a:ext>
              </a:extLst>
            </p:cNvPr>
            <p:cNvCxnSpPr/>
            <p:nvPr/>
          </p:nvCxnSpPr>
          <p:spPr bwMode="gray">
            <a:xfrm rot="900000" flipV="1">
              <a:off x="1513036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6">
              <a:extLst>
                <a:ext uri="{FF2B5EF4-FFF2-40B4-BE49-F238E27FC236}">
                  <a16:creationId xmlns:a16="http://schemas.microsoft.com/office/drawing/2014/main" id="{45DAA703-65FD-674E-A409-A656759C8A8F}"/>
                </a:ext>
              </a:extLst>
            </p:cNvPr>
            <p:cNvCxnSpPr/>
            <p:nvPr/>
          </p:nvCxnSpPr>
          <p:spPr bwMode="gray">
            <a:xfrm rot="900000" flipV="1">
              <a:off x="1585224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17">
              <a:extLst>
                <a:ext uri="{FF2B5EF4-FFF2-40B4-BE49-F238E27FC236}">
                  <a16:creationId xmlns:a16="http://schemas.microsoft.com/office/drawing/2014/main" id="{0C665F8A-99CF-E944-BC84-8062C0D57F75}"/>
                </a:ext>
              </a:extLst>
            </p:cNvPr>
            <p:cNvCxnSpPr/>
            <p:nvPr/>
          </p:nvCxnSpPr>
          <p:spPr bwMode="gray">
            <a:xfrm rot="900000" flipV="1">
              <a:off x="165741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18">
              <a:extLst>
                <a:ext uri="{FF2B5EF4-FFF2-40B4-BE49-F238E27FC236}">
                  <a16:creationId xmlns:a16="http://schemas.microsoft.com/office/drawing/2014/main" id="{18683C2C-C0CD-284C-92C5-0D003DC6B65F}"/>
                </a:ext>
              </a:extLst>
            </p:cNvPr>
            <p:cNvCxnSpPr/>
            <p:nvPr/>
          </p:nvCxnSpPr>
          <p:spPr bwMode="gray">
            <a:xfrm rot="900000" flipV="1">
              <a:off x="172959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19">
              <a:extLst>
                <a:ext uri="{FF2B5EF4-FFF2-40B4-BE49-F238E27FC236}">
                  <a16:creationId xmlns:a16="http://schemas.microsoft.com/office/drawing/2014/main" id="{D567FB58-A550-8C4F-8D14-66740987602C}"/>
                </a:ext>
              </a:extLst>
            </p:cNvPr>
            <p:cNvCxnSpPr/>
            <p:nvPr/>
          </p:nvCxnSpPr>
          <p:spPr bwMode="gray">
            <a:xfrm rot="900000" flipV="1">
              <a:off x="1801788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ECB75737-D462-CE43-B9C2-7CE1C5CF3F2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246081" y="0"/>
            <a:ext cx="2366128" cy="2366128"/>
          </a:xfrm>
          <a:prstGeom prst="rect">
            <a:avLst/>
          </a:prstGeom>
        </p:spPr>
      </p:pic>
      <p:sp>
        <p:nvSpPr>
          <p:cNvPr id="3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8C3496B8-BBF2-46B6-A2F6-4FC61482DAEF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4329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</p:sldLayoutIdLs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accel="44000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63" presetClass="path" presetSubtype="0" decel="100000" fill="hold" nodeType="withEffect">
                                      <p:stCondLst>
                                        <p:cond delay="850"/>
                                      </p:stCondLst>
                                      <p:childTnLst>
                                        <p:animMotion origin="layout" path="M 5.82423E-7 -1.49157E-6 L -0.0078 0.00046 " pathEditMode="relative" rAng="0" ptsTypes="AA">
                                          <p:cBhvr>
                                            <p:cTn id="10" dur="2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39000" y="230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1" presetID="2" presetClass="entr" presetSubtype="8" fill="hold" nodeType="withEffect" p14:presetBounceEnd="50000">
                                      <p:stCondLst>
                                        <p:cond delay="85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3" dur="10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4" dur="10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accel="44000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63" presetClass="path" presetSubtype="0" decel="100000" fill="hold" nodeType="withEffect">
                                      <p:stCondLst>
                                        <p:cond delay="850"/>
                                      </p:stCondLst>
                                      <p:childTnLst>
                                        <p:animMotion origin="layout" path="M 5.82423E-7 -1.49157E-6 L -0.0078 0.00046 " pathEditMode="relative" rAng="0" ptsTypes="AA">
                                          <p:cBhvr>
                                            <p:cTn id="10" dur="2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39000" y="230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1" presetID="2" presetClass="entr" presetSubtype="8" fill="hold" nodeType="withEffect">
                                      <p:stCondLst>
                                        <p:cond delay="85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10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10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44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Gerader Verbinder 99">
            <a:extLst>
              <a:ext uri="{FF2B5EF4-FFF2-40B4-BE49-F238E27FC236}">
                <a16:creationId xmlns:a16="http://schemas.microsoft.com/office/drawing/2014/main" id="{51D3B37E-BB16-EE40-A83D-4717551052F0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4319563" y="0"/>
            <a:ext cx="3805340" cy="7002797"/>
          </a:xfrm>
          <a:prstGeom prst="line">
            <a:avLst/>
          </a:prstGeom>
          <a:ln w="12700">
            <a:solidFill>
              <a:srgbClr val="68B5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uppieren 100">
            <a:extLst>
              <a:ext uri="{FF2B5EF4-FFF2-40B4-BE49-F238E27FC236}">
                <a16:creationId xmlns:a16="http://schemas.microsoft.com/office/drawing/2014/main" id="{01831870-A968-344D-8BDF-4AF5C0E4B670}"/>
              </a:ext>
            </a:extLst>
          </p:cNvPr>
          <p:cNvGrpSpPr/>
          <p:nvPr userDrawn="1"/>
        </p:nvGrpSpPr>
        <p:grpSpPr>
          <a:xfrm>
            <a:off x="1283028" y="2572766"/>
            <a:ext cx="1472752" cy="454186"/>
            <a:chOff x="646783" y="3050368"/>
            <a:chExt cx="1155005" cy="356195"/>
          </a:xfrm>
        </p:grpSpPr>
        <p:cxnSp>
          <p:nvCxnSpPr>
            <p:cNvPr id="39" name="Gerade Verbindung 129">
              <a:extLst>
                <a:ext uri="{FF2B5EF4-FFF2-40B4-BE49-F238E27FC236}">
                  <a16:creationId xmlns:a16="http://schemas.microsoft.com/office/drawing/2014/main" id="{4CE5063E-D93D-5C4A-812E-331C029B23D2}"/>
                </a:ext>
              </a:extLst>
            </p:cNvPr>
            <p:cNvCxnSpPr/>
            <p:nvPr/>
          </p:nvCxnSpPr>
          <p:spPr bwMode="gray">
            <a:xfrm rot="900000" flipV="1">
              <a:off x="64678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130">
              <a:extLst>
                <a:ext uri="{FF2B5EF4-FFF2-40B4-BE49-F238E27FC236}">
                  <a16:creationId xmlns:a16="http://schemas.microsoft.com/office/drawing/2014/main" id="{D586FC93-DF3C-8D4A-9E92-FF0F7BFB56C9}"/>
                </a:ext>
              </a:extLst>
            </p:cNvPr>
            <p:cNvCxnSpPr/>
            <p:nvPr/>
          </p:nvCxnSpPr>
          <p:spPr bwMode="gray">
            <a:xfrm rot="900000" flipV="1">
              <a:off x="718971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131">
              <a:extLst>
                <a:ext uri="{FF2B5EF4-FFF2-40B4-BE49-F238E27FC236}">
                  <a16:creationId xmlns:a16="http://schemas.microsoft.com/office/drawing/2014/main" id="{4FA4809B-669C-634E-93A2-8EEA0769E4C0}"/>
                </a:ext>
              </a:extLst>
            </p:cNvPr>
            <p:cNvCxnSpPr/>
            <p:nvPr/>
          </p:nvCxnSpPr>
          <p:spPr bwMode="gray">
            <a:xfrm rot="900000" flipV="1">
              <a:off x="79115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132">
              <a:extLst>
                <a:ext uri="{FF2B5EF4-FFF2-40B4-BE49-F238E27FC236}">
                  <a16:creationId xmlns:a16="http://schemas.microsoft.com/office/drawing/2014/main" id="{A5065D3B-0E2B-BD42-8144-8DF73560D20D}"/>
                </a:ext>
              </a:extLst>
            </p:cNvPr>
            <p:cNvCxnSpPr/>
            <p:nvPr/>
          </p:nvCxnSpPr>
          <p:spPr bwMode="gray">
            <a:xfrm rot="900000" flipV="1">
              <a:off x="863347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133">
              <a:extLst>
                <a:ext uri="{FF2B5EF4-FFF2-40B4-BE49-F238E27FC236}">
                  <a16:creationId xmlns:a16="http://schemas.microsoft.com/office/drawing/2014/main" id="{E0E5BD15-E71F-C546-9485-F24EB4766E29}"/>
                </a:ext>
              </a:extLst>
            </p:cNvPr>
            <p:cNvCxnSpPr/>
            <p:nvPr/>
          </p:nvCxnSpPr>
          <p:spPr bwMode="gray">
            <a:xfrm rot="900000" flipV="1">
              <a:off x="935534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134">
              <a:extLst>
                <a:ext uri="{FF2B5EF4-FFF2-40B4-BE49-F238E27FC236}">
                  <a16:creationId xmlns:a16="http://schemas.microsoft.com/office/drawing/2014/main" id="{5924BCFF-3AEA-D348-A7B7-CCB3A2820706}"/>
                </a:ext>
              </a:extLst>
            </p:cNvPr>
            <p:cNvCxnSpPr/>
            <p:nvPr/>
          </p:nvCxnSpPr>
          <p:spPr bwMode="gray">
            <a:xfrm rot="900000" flipV="1">
              <a:off x="100772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135">
              <a:extLst>
                <a:ext uri="{FF2B5EF4-FFF2-40B4-BE49-F238E27FC236}">
                  <a16:creationId xmlns:a16="http://schemas.microsoft.com/office/drawing/2014/main" id="{B0B2D780-7338-564A-81F7-FE01129436B8}"/>
                </a:ext>
              </a:extLst>
            </p:cNvPr>
            <p:cNvCxnSpPr/>
            <p:nvPr/>
          </p:nvCxnSpPr>
          <p:spPr bwMode="gray">
            <a:xfrm rot="900000" flipV="1">
              <a:off x="107990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136">
              <a:extLst>
                <a:ext uri="{FF2B5EF4-FFF2-40B4-BE49-F238E27FC236}">
                  <a16:creationId xmlns:a16="http://schemas.microsoft.com/office/drawing/2014/main" id="{45111905-A992-2F4B-98CA-75A141B5E06C}"/>
                </a:ext>
              </a:extLst>
            </p:cNvPr>
            <p:cNvCxnSpPr/>
            <p:nvPr/>
          </p:nvCxnSpPr>
          <p:spPr bwMode="gray">
            <a:xfrm rot="900000" flipV="1">
              <a:off x="1152097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137">
              <a:extLst>
                <a:ext uri="{FF2B5EF4-FFF2-40B4-BE49-F238E27FC236}">
                  <a16:creationId xmlns:a16="http://schemas.microsoft.com/office/drawing/2014/main" id="{4D8295AA-6E45-8640-BDEE-F7734C85F602}"/>
                </a:ext>
              </a:extLst>
            </p:cNvPr>
            <p:cNvCxnSpPr/>
            <p:nvPr/>
          </p:nvCxnSpPr>
          <p:spPr bwMode="gray">
            <a:xfrm rot="900000" flipV="1">
              <a:off x="1224286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38">
              <a:extLst>
                <a:ext uri="{FF2B5EF4-FFF2-40B4-BE49-F238E27FC236}">
                  <a16:creationId xmlns:a16="http://schemas.microsoft.com/office/drawing/2014/main" id="{0E8CBEDE-D26A-8A47-9C8F-384A19E55652}"/>
                </a:ext>
              </a:extLst>
            </p:cNvPr>
            <p:cNvCxnSpPr/>
            <p:nvPr/>
          </p:nvCxnSpPr>
          <p:spPr bwMode="gray">
            <a:xfrm rot="900000" flipV="1">
              <a:off x="1296472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13">
              <a:extLst>
                <a:ext uri="{FF2B5EF4-FFF2-40B4-BE49-F238E27FC236}">
                  <a16:creationId xmlns:a16="http://schemas.microsoft.com/office/drawing/2014/main" id="{E3C77E28-AB08-0847-807D-35AD8A9636CA}"/>
                </a:ext>
              </a:extLst>
            </p:cNvPr>
            <p:cNvCxnSpPr/>
            <p:nvPr/>
          </p:nvCxnSpPr>
          <p:spPr bwMode="gray">
            <a:xfrm rot="900000" flipV="1">
              <a:off x="1368661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14">
              <a:extLst>
                <a:ext uri="{FF2B5EF4-FFF2-40B4-BE49-F238E27FC236}">
                  <a16:creationId xmlns:a16="http://schemas.microsoft.com/office/drawing/2014/main" id="{8BD54621-8A78-6848-AE1A-4BD30FA23C58}"/>
                </a:ext>
              </a:extLst>
            </p:cNvPr>
            <p:cNvCxnSpPr/>
            <p:nvPr/>
          </p:nvCxnSpPr>
          <p:spPr bwMode="gray">
            <a:xfrm rot="900000" flipV="1">
              <a:off x="144084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15">
              <a:extLst>
                <a:ext uri="{FF2B5EF4-FFF2-40B4-BE49-F238E27FC236}">
                  <a16:creationId xmlns:a16="http://schemas.microsoft.com/office/drawing/2014/main" id="{253D5CB8-0FAB-9E48-A1C2-3207ABFFD182}"/>
                </a:ext>
              </a:extLst>
            </p:cNvPr>
            <p:cNvCxnSpPr/>
            <p:nvPr/>
          </p:nvCxnSpPr>
          <p:spPr bwMode="gray">
            <a:xfrm rot="900000" flipV="1">
              <a:off x="1513036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6">
              <a:extLst>
                <a:ext uri="{FF2B5EF4-FFF2-40B4-BE49-F238E27FC236}">
                  <a16:creationId xmlns:a16="http://schemas.microsoft.com/office/drawing/2014/main" id="{45DAA703-65FD-674E-A409-A656759C8A8F}"/>
                </a:ext>
              </a:extLst>
            </p:cNvPr>
            <p:cNvCxnSpPr/>
            <p:nvPr/>
          </p:nvCxnSpPr>
          <p:spPr bwMode="gray">
            <a:xfrm rot="900000" flipV="1">
              <a:off x="1585224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17">
              <a:extLst>
                <a:ext uri="{FF2B5EF4-FFF2-40B4-BE49-F238E27FC236}">
                  <a16:creationId xmlns:a16="http://schemas.microsoft.com/office/drawing/2014/main" id="{0C665F8A-99CF-E944-BC84-8062C0D57F75}"/>
                </a:ext>
              </a:extLst>
            </p:cNvPr>
            <p:cNvCxnSpPr/>
            <p:nvPr/>
          </p:nvCxnSpPr>
          <p:spPr bwMode="gray">
            <a:xfrm rot="900000" flipV="1">
              <a:off x="165741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18">
              <a:extLst>
                <a:ext uri="{FF2B5EF4-FFF2-40B4-BE49-F238E27FC236}">
                  <a16:creationId xmlns:a16="http://schemas.microsoft.com/office/drawing/2014/main" id="{18683C2C-C0CD-284C-92C5-0D003DC6B65F}"/>
                </a:ext>
              </a:extLst>
            </p:cNvPr>
            <p:cNvCxnSpPr/>
            <p:nvPr/>
          </p:nvCxnSpPr>
          <p:spPr bwMode="gray">
            <a:xfrm rot="900000" flipV="1">
              <a:off x="172959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19">
              <a:extLst>
                <a:ext uri="{FF2B5EF4-FFF2-40B4-BE49-F238E27FC236}">
                  <a16:creationId xmlns:a16="http://schemas.microsoft.com/office/drawing/2014/main" id="{D567FB58-A550-8C4F-8D14-66740987602C}"/>
                </a:ext>
              </a:extLst>
            </p:cNvPr>
            <p:cNvCxnSpPr/>
            <p:nvPr/>
          </p:nvCxnSpPr>
          <p:spPr bwMode="gray">
            <a:xfrm rot="900000" flipV="1">
              <a:off x="1801788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30D18D17-69AB-3D49-B680-6307E896E35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77852" y="0"/>
            <a:ext cx="8114954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39980" anchor="ctr">
            <a:noAutofit/>
          </a:bodyPr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Добавьте изображение</a:t>
            </a:r>
            <a:endParaRPr lang="de-DE" dirty="0"/>
          </a:p>
        </p:txBody>
      </p:sp>
      <p:sp>
        <p:nvSpPr>
          <p:cNvPr id="3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D3A25938-DB19-424C-962C-80B2714B6C4C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9876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</p:sldLayoutIdLs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accel="44000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63" presetClass="path" presetSubtype="0" decel="100000" fill="hold" nodeType="withEffect">
                                      <p:stCondLst>
                                        <p:cond delay="850"/>
                                      </p:stCondLst>
                                      <p:childTnLst>
                                        <p:animMotion origin="layout" path="M 5.82423E-7 -1.49157E-6 L -0.0078 0.00046 " pathEditMode="relative" rAng="0" ptsTypes="AA">
                                          <p:cBhvr>
                                            <p:cTn id="10" dur="2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39000" y="230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1" presetID="2" presetClass="entr" presetSubtype="8" fill="hold" nodeType="withEffect" p14:presetBounceEnd="50000">
                                      <p:stCondLst>
                                        <p:cond delay="85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3" dur="10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4" dur="10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accel="44000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63" presetClass="path" presetSubtype="0" decel="100000" fill="hold" nodeType="withEffect">
                                      <p:stCondLst>
                                        <p:cond delay="850"/>
                                      </p:stCondLst>
                                      <p:childTnLst>
                                        <p:animMotion origin="layout" path="M 5.82423E-7 -1.49157E-6 L -0.0078 0.00046 " pathEditMode="relative" rAng="0" ptsTypes="AA">
                                          <p:cBhvr>
                                            <p:cTn id="10" dur="20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-39000" y="2300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1" presetID="2" presetClass="entr" presetSubtype="8" fill="hold" nodeType="withEffect">
                                      <p:stCondLst>
                                        <p:cond delay="85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10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10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4BD277B0-B140-0E48-8090-2383F6E373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-3807" y="0"/>
            <a:ext cx="12217814" cy="2213595"/>
          </a:xfrm>
          <a:prstGeom prst="rect">
            <a:avLst/>
          </a:prstGeom>
        </p:spPr>
      </p:pic>
      <p:sp>
        <p:nvSpPr>
          <p:cNvPr id="3" name="MSIPCMContentMarking" descr="{&quot;HashCode&quot;:-242339457,&quot;Placement&quot;:&quot;Footer&quot;,&quot;Top&quot;:504.569519,&quot;Left&quot;:814.0106,&quot;SlideWidth&quot;:961,&quot;SlideHeight&quot;:541}">
            <a:extLst>
              <a:ext uri="{FF2B5EF4-FFF2-40B4-BE49-F238E27FC236}">
                <a16:creationId xmlns:a16="http://schemas.microsoft.com/office/drawing/2014/main" id="{86A1CA7F-2816-4BF6-9AD4-9D964D9EE147}"/>
              </a:ext>
            </a:extLst>
          </p:cNvPr>
          <p:cNvSpPr txBox="1"/>
          <p:nvPr userDrawn="1"/>
        </p:nvSpPr>
        <p:spPr>
          <a:xfrm>
            <a:off x="10337935" y="6408033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4707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image" Target="../media/image36.png"/><Relationship Id="rId7" Type="http://schemas.openxmlformats.org/officeDocument/2006/relationships/image" Target="../media/image38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9.xml"/><Relationship Id="rId6" Type="http://schemas.microsoft.com/office/2007/relationships/hdphoto" Target="../media/hdphoto4.wdp"/><Relationship Id="rId5" Type="http://schemas.openxmlformats.org/officeDocument/2006/relationships/image" Target="../media/image37.png"/><Relationship Id="rId10" Type="http://schemas.microsoft.com/office/2007/relationships/hdphoto" Target="../media/hdphoto6.wdp"/><Relationship Id="rId4" Type="http://schemas.microsoft.com/office/2007/relationships/hdphoto" Target="../media/hdphoto3.wdp"/><Relationship Id="rId9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9.xml"/><Relationship Id="rId6" Type="http://schemas.microsoft.com/office/2007/relationships/hdphoto" Target="../media/hdphoto8.wdp"/><Relationship Id="rId5" Type="http://schemas.openxmlformats.org/officeDocument/2006/relationships/image" Target="../media/image41.png"/><Relationship Id="rId4" Type="http://schemas.microsoft.com/office/2007/relationships/hdphoto" Target="../media/hdphoto7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9.wdp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45.jpeg"/><Relationship Id="rId4" Type="http://schemas.microsoft.com/office/2007/relationships/hdphoto" Target="../media/hdphoto10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6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.xml"/><Relationship Id="rId7" Type="http://schemas.openxmlformats.org/officeDocument/2006/relationships/image" Target="../media/image1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5.png"/><Relationship Id="rId5" Type="http://schemas.openxmlformats.org/officeDocument/2006/relationships/image" Target="../media/image5.emf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7.jpeg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tmp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9.xml"/><Relationship Id="rId5" Type="http://schemas.microsoft.com/office/2007/relationships/hdphoto" Target="../media/hdphoto1.wdp"/><Relationship Id="rId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BDAD92-9053-B646-AE2D-5BBA0B2ACC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27882" y="3633232"/>
            <a:ext cx="9158288" cy="2393680"/>
          </a:xfrm>
        </p:spPr>
        <p:txBody>
          <a:bodyPr/>
          <a:lstStyle/>
          <a:p>
            <a:pPr algn="l"/>
            <a:r>
              <a:rPr lang="ru-RU" sz="7200" i="1" dirty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Сорняки</a:t>
            </a:r>
            <a:br>
              <a:rPr lang="ru-RU" sz="7200" i="1" dirty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</a:br>
            <a:r>
              <a:rPr lang="ru-RU" sz="7200" i="1" dirty="0"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 под прицелом </a:t>
            </a:r>
          </a:p>
        </p:txBody>
      </p:sp>
      <p:sp>
        <p:nvSpPr>
          <p:cNvPr id="4" name="Параллелограмм 3">
            <a:extLst>
              <a:ext uri="{FF2B5EF4-FFF2-40B4-BE49-F238E27FC236}">
                <a16:creationId xmlns:a16="http://schemas.microsoft.com/office/drawing/2014/main" id="{EE635DC5-241F-2B45-8A0A-ED460582B389}"/>
              </a:ext>
            </a:extLst>
          </p:cNvPr>
          <p:cNvSpPr/>
          <p:nvPr/>
        </p:nvSpPr>
        <p:spPr>
          <a:xfrm>
            <a:off x="879704" y="3141431"/>
            <a:ext cx="4197122" cy="473927"/>
          </a:xfrm>
          <a:custGeom>
            <a:avLst/>
            <a:gdLst>
              <a:gd name="connsiteX0" fmla="*/ 0 w 4169244"/>
              <a:gd name="connsiteY0" fmla="*/ 473927 h 473927"/>
              <a:gd name="connsiteX1" fmla="*/ 118482 w 4169244"/>
              <a:gd name="connsiteY1" fmla="*/ 0 h 473927"/>
              <a:gd name="connsiteX2" fmla="*/ 4169244 w 4169244"/>
              <a:gd name="connsiteY2" fmla="*/ 0 h 473927"/>
              <a:gd name="connsiteX3" fmla="*/ 4050762 w 4169244"/>
              <a:gd name="connsiteY3" fmla="*/ 473927 h 473927"/>
              <a:gd name="connsiteX4" fmla="*/ 0 w 4169244"/>
              <a:gd name="connsiteY4" fmla="*/ 473927 h 473927"/>
              <a:gd name="connsiteX0" fmla="*/ 0 w 4169244"/>
              <a:gd name="connsiteY0" fmla="*/ 473927 h 473927"/>
              <a:gd name="connsiteX1" fmla="*/ 118482 w 4169244"/>
              <a:gd name="connsiteY1" fmla="*/ 0 h 473927"/>
              <a:gd name="connsiteX2" fmla="*/ 4169244 w 4169244"/>
              <a:gd name="connsiteY2" fmla="*/ 0 h 473927"/>
              <a:gd name="connsiteX3" fmla="*/ 4050762 w 4169244"/>
              <a:gd name="connsiteY3" fmla="*/ 473927 h 473927"/>
              <a:gd name="connsiteX4" fmla="*/ 0 w 4169244"/>
              <a:gd name="connsiteY4" fmla="*/ 473927 h 473927"/>
              <a:gd name="connsiteX0" fmla="*/ 0 w 4197122"/>
              <a:gd name="connsiteY0" fmla="*/ 473927 h 473927"/>
              <a:gd name="connsiteX1" fmla="*/ 118482 w 4197122"/>
              <a:gd name="connsiteY1" fmla="*/ 0 h 473927"/>
              <a:gd name="connsiteX2" fmla="*/ 4197122 w 4197122"/>
              <a:gd name="connsiteY2" fmla="*/ 0 h 473927"/>
              <a:gd name="connsiteX3" fmla="*/ 4050762 w 4197122"/>
              <a:gd name="connsiteY3" fmla="*/ 473927 h 473927"/>
              <a:gd name="connsiteX4" fmla="*/ 0 w 4197122"/>
              <a:gd name="connsiteY4" fmla="*/ 473927 h 473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97122" h="473927">
                <a:moveTo>
                  <a:pt x="0" y="473927"/>
                </a:moveTo>
                <a:lnTo>
                  <a:pt x="118482" y="0"/>
                </a:lnTo>
                <a:lnTo>
                  <a:pt x="4197122" y="0"/>
                </a:lnTo>
                <a:lnTo>
                  <a:pt x="4050762" y="473927"/>
                </a:lnTo>
                <a:lnTo>
                  <a:pt x="0" y="473927"/>
                </a:lnTo>
                <a:close/>
              </a:path>
            </a:pathLst>
          </a:custGeom>
          <a:solidFill>
            <a:srgbClr val="68B5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7C351D12-ACEC-B044-BB2E-AFE78FAFA2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27882" y="3159305"/>
            <a:ext cx="3735901" cy="556852"/>
          </a:xfrm>
        </p:spPr>
        <p:txBody>
          <a:bodyPr/>
          <a:lstStyle/>
          <a:p>
            <a:pPr algn="l"/>
            <a:r>
              <a:rPr lang="ru-RU" b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Урожай под защитой</a:t>
            </a:r>
          </a:p>
        </p:txBody>
      </p:sp>
    </p:spTree>
    <p:extLst>
      <p:ext uri="{BB962C8B-B14F-4D97-AF65-F5344CB8AC3E}">
        <p14:creationId xmlns:p14="http://schemas.microsoft.com/office/powerpoint/2010/main" val="10088583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:\Users\GCVIT\Pictures\ФОТО 2015\2,4Д\P1030899.JPG">
            <a:extLst>
              <a:ext uri="{FF2B5EF4-FFF2-40B4-BE49-F238E27FC236}">
                <a16:creationId xmlns:a16="http://schemas.microsoft.com/office/drawing/2014/main" id="{299964CB-9001-4D6A-9411-1A34BE7161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4101"/>
          <a:stretch/>
        </p:blipFill>
        <p:spPr bwMode="auto">
          <a:xfrm>
            <a:off x="4960281" y="1641954"/>
            <a:ext cx="7076343" cy="493775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2">
            <a:extLst>
              <a:ext uri="{FF2B5EF4-FFF2-40B4-BE49-F238E27FC236}">
                <a16:creationId xmlns:a16="http://schemas.microsoft.com/office/drawing/2014/main" id="{4AC3A40A-FCD0-4DDD-8D2E-ABB8ADFB7D58}"/>
              </a:ext>
            </a:extLst>
          </p:cNvPr>
          <p:cNvSpPr txBox="1">
            <a:spLocks/>
          </p:cNvSpPr>
          <p:nvPr/>
        </p:nvSpPr>
        <p:spPr bwMode="blackGray">
          <a:xfrm>
            <a:off x="1649887" y="408877"/>
            <a:ext cx="949204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Мушкет Плюс </a:t>
            </a:r>
            <a:r>
              <a:rPr kumimoji="0" lang="ru-RU" sz="2600" b="0" i="1" u="none" strike="noStrike" kern="120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– безопасен для культуры</a:t>
            </a:r>
            <a:endParaRPr kumimoji="0" lang="en-US" sz="2600" b="0" i="1" u="none" strike="noStrike" kern="1200" cap="none" spc="0" normalizeH="0" baseline="0" noProof="0" dirty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87D10CB4-B7AE-4DF1-A167-A88574771F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9463904"/>
              </p:ext>
            </p:extLst>
          </p:nvPr>
        </p:nvGraphicFramePr>
        <p:xfrm>
          <a:off x="306006" y="2845089"/>
          <a:ext cx="4473384" cy="2585720"/>
        </p:xfrm>
        <a:graphic>
          <a:graphicData uri="http://schemas.openxmlformats.org/drawingml/2006/table">
            <a:tbl>
              <a:tblPr firstRow="1">
                <a:tableStyleId>{00A15C55-8517-42AA-B614-E9B94910E393}</a:tableStyleId>
              </a:tblPr>
              <a:tblGrid>
                <a:gridCol w="1522794">
                  <a:extLst>
                    <a:ext uri="{9D8B030D-6E8A-4147-A177-3AD203B41FA5}">
                      <a16:colId xmlns:a16="http://schemas.microsoft.com/office/drawing/2014/main" val="794955187"/>
                    </a:ext>
                  </a:extLst>
                </a:gridCol>
                <a:gridCol w="565608">
                  <a:extLst>
                    <a:ext uri="{9D8B030D-6E8A-4147-A177-3AD203B41FA5}">
                      <a16:colId xmlns:a16="http://schemas.microsoft.com/office/drawing/2014/main" val="3692640959"/>
                    </a:ext>
                  </a:extLst>
                </a:gridCol>
                <a:gridCol w="744718">
                  <a:extLst>
                    <a:ext uri="{9D8B030D-6E8A-4147-A177-3AD203B41FA5}">
                      <a16:colId xmlns:a16="http://schemas.microsoft.com/office/drawing/2014/main" val="3883190122"/>
                    </a:ext>
                  </a:extLst>
                </a:gridCol>
                <a:gridCol w="886120">
                  <a:extLst>
                    <a:ext uri="{9D8B030D-6E8A-4147-A177-3AD203B41FA5}">
                      <a16:colId xmlns:a16="http://schemas.microsoft.com/office/drawing/2014/main" val="3505496272"/>
                    </a:ext>
                  </a:extLst>
                </a:gridCol>
                <a:gridCol w="754144">
                  <a:extLst>
                    <a:ext uri="{9D8B030D-6E8A-4147-A177-3AD203B41FA5}">
                      <a16:colId xmlns:a16="http://schemas.microsoft.com/office/drawing/2014/main" val="131006896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ru-RU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/>
                        <a:t>л/г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/>
                        <a:t>2-3 лист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/>
                        <a:t>кущение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/>
                        <a:t>2-е междоузлие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595316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Мушкет Плюс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0,5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0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0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0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59789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Мушкет Плюс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0,7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0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0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0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4669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Мушкет Плюс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,4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2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0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3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6350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Дикамба 4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0,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15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5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27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7849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,4-Д эфир 6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0,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10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20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577060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1A4C094-E47D-491F-A50D-3B0FDBF138A2}"/>
              </a:ext>
            </a:extLst>
          </p:cNvPr>
          <p:cNvSpPr txBox="1"/>
          <p:nvPr/>
        </p:nvSpPr>
        <p:spPr>
          <a:xfrm>
            <a:off x="306006" y="1641954"/>
            <a:ext cx="44733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Фитотоксичность, %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Комплекс показателей – задержка в росте и развитии культуры в сравнении с контролем. Средние данные по 12 опытам, через 7 дней после проведения обработок в различные фазы яровой пшеницы)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B66AE3F-F676-4F79-A20B-9648E2001759}"/>
              </a:ext>
            </a:extLst>
          </p:cNvPr>
          <p:cNvCxnSpPr>
            <a:cxnSpLocks/>
          </p:cNvCxnSpPr>
          <p:nvPr/>
        </p:nvCxnSpPr>
        <p:spPr>
          <a:xfrm flipV="1">
            <a:off x="5835192" y="3789577"/>
            <a:ext cx="2111604" cy="197020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61A637B6-6149-4654-8481-F97AF1254C2D}"/>
              </a:ext>
            </a:extLst>
          </p:cNvPr>
          <p:cNvCxnSpPr>
            <a:cxnSpLocks/>
          </p:cNvCxnSpPr>
          <p:nvPr/>
        </p:nvCxnSpPr>
        <p:spPr>
          <a:xfrm flipH="1" flipV="1">
            <a:off x="9389097" y="3815276"/>
            <a:ext cx="2149311" cy="1944501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07CBC0E-CD42-4391-A52C-5D9E954A871A}"/>
              </a:ext>
            </a:extLst>
          </p:cNvPr>
          <p:cNvSpPr txBox="1"/>
          <p:nvPr/>
        </p:nvSpPr>
        <p:spPr>
          <a:xfrm>
            <a:off x="5613482" y="3312651"/>
            <a:ext cx="15648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ушкет Плюс 0,7 л/г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5124417-52B1-4E1D-9A63-55003970027C}"/>
              </a:ext>
            </a:extLst>
          </p:cNvPr>
          <p:cNvSpPr txBox="1"/>
          <p:nvPr/>
        </p:nvSpPr>
        <p:spPr>
          <a:xfrm>
            <a:off x="9973558" y="3389298"/>
            <a:ext cx="15648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ушкет Плюс 1,4 л/г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3864291-EC8C-4487-867F-1B5E1A58E5FA}"/>
              </a:ext>
            </a:extLst>
          </p:cNvPr>
          <p:cNvSpPr txBox="1"/>
          <p:nvPr/>
        </p:nvSpPr>
        <p:spPr>
          <a:xfrm>
            <a:off x="7926158" y="3389298"/>
            <a:ext cx="15648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икамба 480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3 л/га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F62737D-43BB-4068-9844-57157A59BCB2}"/>
              </a:ext>
            </a:extLst>
          </p:cNvPr>
          <p:cNvSpPr txBox="1"/>
          <p:nvPr/>
        </p:nvSpPr>
        <p:spPr>
          <a:xfrm>
            <a:off x="306006" y="5636099"/>
            <a:ext cx="44733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Мушкет Плюс 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овместим с прочими гербицидами, фунгицидами, инсектицидами и удобрениями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79702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4AC3A40A-FCD0-4DDD-8D2E-ABB8ADFB7D58}"/>
              </a:ext>
            </a:extLst>
          </p:cNvPr>
          <p:cNvSpPr txBox="1">
            <a:spLocks/>
          </p:cNvSpPr>
          <p:nvPr/>
        </p:nvSpPr>
        <p:spPr bwMode="blackGray">
          <a:xfrm>
            <a:off x="297329" y="625786"/>
            <a:ext cx="5897319" cy="885293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6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Мушкет Плюс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1" u="none" strike="noStrike" kern="120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– эффективен даже в минимальных дозировках</a:t>
            </a:r>
            <a:endParaRPr kumimoji="0" lang="en-US" sz="2000" b="0" i="1" u="none" strike="noStrike" kern="1200" cap="none" spc="0" normalizeH="0" baseline="0" noProof="0" dirty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53AFCBD2-DB2C-459A-963B-F530D1514AA6}"/>
              </a:ext>
            </a:extLst>
          </p:cNvPr>
          <p:cNvGraphicFramePr/>
          <p:nvPr/>
        </p:nvGraphicFramePr>
        <p:xfrm>
          <a:off x="306006" y="2204746"/>
          <a:ext cx="6033155" cy="37148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1B554FB-1BF6-4996-9979-3B19742AA9C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2843" t="10140" r="7742" b="12970"/>
          <a:stretch/>
        </p:blipFill>
        <p:spPr>
          <a:xfrm>
            <a:off x="9459797" y="4085117"/>
            <a:ext cx="2450969" cy="20361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4E737C83-7F73-4B11-B256-259B13DAD25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5767" b="10047"/>
          <a:stretch/>
        </p:blipFill>
        <p:spPr>
          <a:xfrm>
            <a:off x="6593291" y="3594935"/>
            <a:ext cx="2554109" cy="252637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FC4E0EED-A0AF-446A-A50C-A8A264374FB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484" t="14122" r="17370" b="11840"/>
          <a:stretch/>
        </p:blipFill>
        <p:spPr>
          <a:xfrm>
            <a:off x="9389097" y="1277460"/>
            <a:ext cx="2592371" cy="256388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62DC1FA9-5875-4D5E-9064-68AE25D4EB3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382" t="10047"/>
          <a:stretch/>
        </p:blipFill>
        <p:spPr>
          <a:xfrm>
            <a:off x="6834988" y="1159497"/>
            <a:ext cx="2314484" cy="212103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3DC451A-6EDE-49AC-B384-518AE76124C3}"/>
              </a:ext>
            </a:extLst>
          </p:cNvPr>
          <p:cNvSpPr txBox="1"/>
          <p:nvPr/>
        </p:nvSpPr>
        <p:spPr>
          <a:xfrm>
            <a:off x="8017219" y="3594935"/>
            <a:ext cx="1149420" cy="46723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36000" tIns="18000" rIns="36000" bIns="1800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ушкет Плюс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6 л/га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6707B47-0AF8-4D27-AB78-096DE3A7660D}"/>
              </a:ext>
            </a:extLst>
          </p:cNvPr>
          <p:cNvSpPr txBox="1"/>
          <p:nvPr/>
        </p:nvSpPr>
        <p:spPr>
          <a:xfrm>
            <a:off x="10757276" y="4085117"/>
            <a:ext cx="1149420" cy="46723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36000" tIns="18000" rIns="36000" bIns="1800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ушкет Плюс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7 л/га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CC6B79D-575A-4C0B-A320-5532F28A2430}"/>
              </a:ext>
            </a:extLst>
          </p:cNvPr>
          <p:cNvSpPr txBox="1"/>
          <p:nvPr/>
        </p:nvSpPr>
        <p:spPr>
          <a:xfrm>
            <a:off x="8017219" y="1154704"/>
            <a:ext cx="1149420" cy="46723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36000" tIns="18000" rIns="36000" bIns="1800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ушкет Плюс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4 л/га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5788742-737F-48A4-8CEA-4CA764D2080C}"/>
              </a:ext>
            </a:extLst>
          </p:cNvPr>
          <p:cNvSpPr txBox="1"/>
          <p:nvPr/>
        </p:nvSpPr>
        <p:spPr>
          <a:xfrm>
            <a:off x="10832048" y="1277460"/>
            <a:ext cx="1149420" cy="46723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36000" tIns="18000" rIns="36000" bIns="1800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ушкет Плюс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5 л/га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983A813-57E2-4A15-B5B5-651317C73149}"/>
              </a:ext>
            </a:extLst>
          </p:cNvPr>
          <p:cNvSpPr txBox="1"/>
          <p:nvPr/>
        </p:nvSpPr>
        <p:spPr>
          <a:xfrm>
            <a:off x="584463" y="5919601"/>
            <a:ext cx="35206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Средние данные по 10 опытам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25745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53AFCBD2-DB2C-459A-963B-F530D1514AA6}"/>
              </a:ext>
            </a:extLst>
          </p:cNvPr>
          <p:cNvGraphicFramePr/>
          <p:nvPr/>
        </p:nvGraphicFramePr>
        <p:xfrm>
          <a:off x="4047882" y="1679311"/>
          <a:ext cx="7924160" cy="4525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itel 2">
            <a:extLst>
              <a:ext uri="{FF2B5EF4-FFF2-40B4-BE49-F238E27FC236}">
                <a16:creationId xmlns:a16="http://schemas.microsoft.com/office/drawing/2014/main" id="{C98A3DC9-9F09-4567-B150-5FF1D670B469}"/>
              </a:ext>
            </a:extLst>
          </p:cNvPr>
          <p:cNvSpPr txBox="1">
            <a:spLocks/>
          </p:cNvSpPr>
          <p:nvPr/>
        </p:nvSpPr>
        <p:spPr bwMode="blackGray">
          <a:xfrm>
            <a:off x="1649887" y="408877"/>
            <a:ext cx="949204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Мушкет Плюс </a:t>
            </a:r>
            <a:r>
              <a:rPr kumimoji="0" lang="ru-RU" sz="2600" b="0" i="1" u="none" strike="noStrike" kern="120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– более эффективен</a:t>
            </a:r>
            <a:endParaRPr kumimoji="0" lang="en-US" sz="2600" b="0" i="1" u="none" strike="noStrike" kern="1200" cap="none" spc="0" normalizeH="0" baseline="0" noProof="0" dirty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B4A9794-0665-4851-B48D-A185385502E6}"/>
              </a:ext>
            </a:extLst>
          </p:cNvPr>
          <p:cNvSpPr txBox="1"/>
          <p:nvPr/>
        </p:nvSpPr>
        <p:spPr>
          <a:xfrm>
            <a:off x="8958807" y="6192855"/>
            <a:ext cx="35206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Средние данные по 8 опытам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A888C8B-FC01-4315-A1E5-13AFD660D1BE}"/>
              </a:ext>
            </a:extLst>
          </p:cNvPr>
          <p:cNvSpPr txBox="1"/>
          <p:nvPr/>
        </p:nvSpPr>
        <p:spPr>
          <a:xfrm>
            <a:off x="314362" y="1758566"/>
            <a:ext cx="365816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ушкет Плюс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меет самый широкий спектр контролируемых сорняков среди гербицидов с готовой формуляцией (без баковой смеси)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83E8A1E-0E43-4DF4-BF27-47EAADDFE6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649887" y="4226295"/>
            <a:ext cx="2718086" cy="25980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ED702C5-B086-4DEA-9B59-7F14E7311AE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1858" t="1371" r="13256" b="12251"/>
          <a:stretch/>
        </p:blipFill>
        <p:spPr>
          <a:xfrm>
            <a:off x="239008" y="3186608"/>
            <a:ext cx="2230241" cy="222670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9875916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2DD80E02-AB44-0547-8EFB-576D5D7992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362" y="664210"/>
            <a:ext cx="534241" cy="53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itel 2">
            <a:extLst>
              <a:ext uri="{FF2B5EF4-FFF2-40B4-BE49-F238E27FC236}">
                <a16:creationId xmlns:a16="http://schemas.microsoft.com/office/drawing/2014/main" id="{BAECEC54-62F9-4A0A-AEF7-71ED6EAD9645}"/>
              </a:ext>
            </a:extLst>
          </p:cNvPr>
          <p:cNvSpPr txBox="1">
            <a:spLocks/>
          </p:cNvSpPr>
          <p:nvPr/>
        </p:nvSpPr>
        <p:spPr bwMode="blackGray">
          <a:xfrm>
            <a:off x="1654602" y="592682"/>
            <a:ext cx="6166573" cy="59361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Мушкет Плюс </a:t>
            </a:r>
            <a:r>
              <a:rPr kumimoji="0" lang="ru-RU" sz="2400" b="0" i="1" u="none" strike="noStrike" kern="120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– более эффективен</a:t>
            </a:r>
            <a:endParaRPr kumimoji="0" lang="en-US" sz="2800" b="0" i="1" u="none" strike="noStrike" kern="1200" cap="none" spc="0" normalizeH="0" baseline="0" noProof="0" dirty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graphicFrame>
        <p:nvGraphicFramePr>
          <p:cNvPr id="19" name="Диаграмма 18">
            <a:extLst>
              <a:ext uri="{FF2B5EF4-FFF2-40B4-BE49-F238E27FC236}">
                <a16:creationId xmlns:a16="http://schemas.microsoft.com/office/drawing/2014/main" id="{55D00B08-12F4-43A0-B551-988E1AF728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5960481"/>
              </p:ext>
            </p:extLst>
          </p:nvPr>
        </p:nvGraphicFramePr>
        <p:xfrm>
          <a:off x="296546" y="1424964"/>
          <a:ext cx="5686810" cy="47351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9F1C4884-8B1D-4EE4-B68D-04CC3FA0D44E}"/>
              </a:ext>
            </a:extLst>
          </p:cNvPr>
          <p:cNvSpPr txBox="1"/>
          <p:nvPr/>
        </p:nvSpPr>
        <p:spPr>
          <a:xfrm>
            <a:off x="671362" y="6321736"/>
            <a:ext cx="355954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1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Средние данные по 15 опытам</a:t>
            </a:r>
          </a:p>
        </p:txBody>
      </p:sp>
    </p:spTree>
    <p:extLst>
      <p:ext uri="{BB962C8B-B14F-4D97-AF65-F5344CB8AC3E}">
        <p14:creationId xmlns:p14="http://schemas.microsoft.com/office/powerpoint/2010/main" val="28086606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53AFCBD2-DB2C-459A-963B-F530D1514AA6}"/>
              </a:ext>
            </a:extLst>
          </p:cNvPr>
          <p:cNvGraphicFramePr/>
          <p:nvPr/>
        </p:nvGraphicFramePr>
        <p:xfrm>
          <a:off x="367646" y="1566190"/>
          <a:ext cx="8587819" cy="4525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itel 2">
            <a:extLst>
              <a:ext uri="{FF2B5EF4-FFF2-40B4-BE49-F238E27FC236}">
                <a16:creationId xmlns:a16="http://schemas.microsoft.com/office/drawing/2014/main" id="{C98A3DC9-9F09-4567-B150-5FF1D670B469}"/>
              </a:ext>
            </a:extLst>
          </p:cNvPr>
          <p:cNvSpPr txBox="1">
            <a:spLocks/>
          </p:cNvSpPr>
          <p:nvPr/>
        </p:nvSpPr>
        <p:spPr bwMode="blackGray">
          <a:xfrm>
            <a:off x="1649887" y="408877"/>
            <a:ext cx="949204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Мушкет Плюс </a:t>
            </a:r>
            <a:r>
              <a:rPr kumimoji="0" lang="ru-RU" sz="2600" b="0" i="1" u="none" strike="noStrike" kern="120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– </a:t>
            </a:r>
            <a:r>
              <a:rPr kumimoji="0" lang="ru-RU" sz="2600" b="1" i="1" u="none" strike="noStrike" kern="120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дозировки</a:t>
            </a:r>
            <a:endParaRPr kumimoji="0" lang="en-US" sz="2600" b="1" i="1" u="none" strike="noStrike" kern="1200" cap="none" spc="0" normalizeH="0" baseline="0" noProof="0" dirty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B4A9794-0665-4851-B48D-A185385502E6}"/>
              </a:ext>
            </a:extLst>
          </p:cNvPr>
          <p:cNvSpPr txBox="1"/>
          <p:nvPr/>
        </p:nvSpPr>
        <p:spPr>
          <a:xfrm>
            <a:off x="495203" y="6204870"/>
            <a:ext cx="35206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Испытания Мушкет Плюс в России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0731CE-0105-404C-8715-6B02AAF9980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9019782" y="1592727"/>
            <a:ext cx="3073137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228600" indent="-228600" algn="l" defTabSz="914400" rtl="0" eaLnBrk="1" latinLnBrk="0" hangingPunct="1">
              <a:buFont typeface="Arial" panose="020B0604020202020204" pitchFamily="34" charset="0"/>
              <a:buChar char="•"/>
            </a:lvl1pPr>
            <a:lvl2pPr marL="685800" indent="-228600" algn="l" defTabSz="914400" rtl="0" eaLnBrk="1" latinLnBrk="0" hangingPunct="1">
              <a:buFont typeface="Arial" panose="020B0604020202020204" pitchFamily="34" charset="0"/>
              <a:buChar char="•"/>
            </a:lvl2pPr>
            <a:lvl3pPr marL="1143000" indent="-228600" algn="l" defTabSz="914400" rtl="0" eaLnBrk="1" latinLnBrk="0" hangingPunct="1">
              <a:buFont typeface="Arial" panose="020B0604020202020204" pitchFamily="34" charset="0"/>
              <a:buChar char="•"/>
            </a:lvl3pPr>
            <a:lvl4pPr marL="1600200" indent="-228600" algn="l" defTabSz="914400" rtl="0" eaLnBrk="1" latinLnBrk="0" hangingPunct="1">
              <a:buFont typeface="Arial" panose="020B0604020202020204" pitchFamily="34" charset="0"/>
              <a:buChar char="•"/>
            </a:lvl4pPr>
            <a:lvl5pPr marL="2057400" indent="-228600" algn="l" defTabSz="914400" rtl="0" eaLnBrk="1" latinLnBrk="0" hangingPunct="1">
              <a:buFont typeface="Arial" panose="020B0604020202020204" pitchFamily="34" charset="0"/>
              <a:buChar char="•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комендации по </a:t>
            </a:r>
            <a:r>
              <a:rPr lang="ru-RU" b="1" dirty="0">
                <a:solidFill>
                  <a:prstClr val="black"/>
                </a:solidFill>
                <a:latin typeface="Calibri" panose="020F0502020204030204"/>
              </a:rPr>
              <a:t>дозировке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ушкет Плюс 0,7 л/га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при наличии полыни, горчака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ушкет Плюс 0,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0,7 л/га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при наличии переросших многолетних корнеотпрысковых сорняков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ушкет Плюс 0,5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0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6 л/га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при оптимальной фазе развития сорняков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ушкет Плюс 0,3-0,4 л/га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только совместно с гербицидом партнёром при оптимальной фазе развития сорняков (трибенурон, Велосити Супер и др.).</a:t>
            </a:r>
          </a:p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390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8B4A9794-0665-4851-B48D-A185385502E6}"/>
              </a:ext>
            </a:extLst>
          </p:cNvPr>
          <p:cNvSpPr txBox="1"/>
          <p:nvPr/>
        </p:nvSpPr>
        <p:spPr>
          <a:xfrm>
            <a:off x="495203" y="6434179"/>
            <a:ext cx="35206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Испытания Мушкет Плюс в России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0731CE-0105-404C-8715-6B02AAF99802}"/>
              </a:ext>
            </a:extLst>
          </p:cNvPr>
          <p:cNvSpPr txBox="1"/>
          <p:nvPr/>
        </p:nvSpPr>
        <p:spPr>
          <a:xfrm>
            <a:off x="8402135" y="2559147"/>
            <a:ext cx="3641981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ушкет Плюс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казывает хорошую эффективность против широкого спектра сорняков даже в минимальных дозировках (ниже регистрационных). Это обусловлено большим запасом надёжности гербицида за счёт его уникальной формуляции и высокого качества компонентов препарата.</a:t>
            </a:r>
          </a:p>
        </p:txBody>
      </p:sp>
      <p:sp>
        <p:nvSpPr>
          <p:cNvPr id="6" name="Titel 2">
            <a:extLst>
              <a:ext uri="{FF2B5EF4-FFF2-40B4-BE49-F238E27FC236}">
                <a16:creationId xmlns:a16="http://schemas.microsoft.com/office/drawing/2014/main" id="{5E997AF1-7D74-4947-94A7-FFDFA5347298}"/>
              </a:ext>
            </a:extLst>
          </p:cNvPr>
          <p:cNvSpPr txBox="1">
            <a:spLocks/>
          </p:cNvSpPr>
          <p:nvPr/>
        </p:nvSpPr>
        <p:spPr bwMode="blackGray">
          <a:xfrm>
            <a:off x="1649887" y="408877"/>
            <a:ext cx="949204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Мушкет Плюс </a:t>
            </a:r>
            <a:r>
              <a:rPr kumimoji="0" lang="ru-RU" sz="2600" b="0" i="1" u="none" strike="noStrike" kern="120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– </a:t>
            </a:r>
            <a:r>
              <a:rPr kumimoji="0" lang="ru-RU" sz="2600" b="1" i="1" u="none" strike="noStrike" kern="120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дозировки</a:t>
            </a:r>
            <a:endParaRPr kumimoji="0" lang="en-US" sz="2600" b="1" i="1" u="none" strike="noStrike" kern="1200" cap="none" spc="0" normalizeH="0" baseline="0" noProof="0" dirty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A9A8ABE-E9D4-4205-83D7-5368698311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7842" y="1272877"/>
            <a:ext cx="7592903" cy="506193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FC237D6-D21C-4DF5-9CE7-9E5A8E82B5A7}"/>
              </a:ext>
            </a:extLst>
          </p:cNvPr>
          <p:cNvSpPr txBox="1"/>
          <p:nvPr/>
        </p:nvSpPr>
        <p:spPr>
          <a:xfrm>
            <a:off x="6105525" y="2077767"/>
            <a:ext cx="1134261" cy="3693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онтроль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8B3734-55CC-4E4F-881A-38C706D5023F}"/>
              </a:ext>
            </a:extLst>
          </p:cNvPr>
          <p:cNvSpPr txBox="1"/>
          <p:nvPr/>
        </p:nvSpPr>
        <p:spPr>
          <a:xfrm>
            <a:off x="3087346" y="5414999"/>
            <a:ext cx="2693894" cy="64633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ушкет Плюс (0,3) + трибенурон 750 (0,015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FABF08-7EDC-4AAA-AB34-F40DE789A76D}"/>
              </a:ext>
            </a:extLst>
          </p:cNvPr>
          <p:cNvSpPr txBox="1"/>
          <p:nvPr/>
        </p:nvSpPr>
        <p:spPr>
          <a:xfrm>
            <a:off x="809232" y="3159272"/>
            <a:ext cx="1981102" cy="3693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ушкет Плюс 0,4</a:t>
            </a:r>
          </a:p>
        </p:txBody>
      </p:sp>
    </p:spTree>
    <p:extLst>
      <p:ext uri="{BB962C8B-B14F-4D97-AF65-F5344CB8AC3E}">
        <p14:creationId xmlns:p14="http://schemas.microsoft.com/office/powerpoint/2010/main" val="35060056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7B293C8B-2A66-AD4E-A832-0EF22136B9AF}"/>
              </a:ext>
            </a:extLst>
          </p:cNvPr>
          <p:cNvSpPr txBox="1">
            <a:spLocks/>
          </p:cNvSpPr>
          <p:nvPr/>
        </p:nvSpPr>
        <p:spPr bwMode="blackGray">
          <a:xfrm>
            <a:off x="2661992" y="1646023"/>
            <a:ext cx="949204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Мушкет Плюс </a:t>
            </a: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– против полыни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grpSp>
        <p:nvGrpSpPr>
          <p:cNvPr id="7" name="Gruppieren 87">
            <a:extLst>
              <a:ext uri="{FF2B5EF4-FFF2-40B4-BE49-F238E27FC236}">
                <a16:creationId xmlns:a16="http://schemas.microsoft.com/office/drawing/2014/main" id="{B51F946D-2676-6749-94E0-886B3C86BB71}"/>
              </a:ext>
            </a:extLst>
          </p:cNvPr>
          <p:cNvGrpSpPr/>
          <p:nvPr/>
        </p:nvGrpSpPr>
        <p:grpSpPr>
          <a:xfrm>
            <a:off x="394357" y="2130458"/>
            <a:ext cx="1973504" cy="279507"/>
            <a:chOff x="-4484" y="3050368"/>
            <a:chExt cx="1806272" cy="356195"/>
          </a:xfrm>
        </p:grpSpPr>
        <p:cxnSp>
          <p:nvCxnSpPr>
            <p:cNvPr id="8" name="Gerade Verbindung 125">
              <a:extLst>
                <a:ext uri="{FF2B5EF4-FFF2-40B4-BE49-F238E27FC236}">
                  <a16:creationId xmlns:a16="http://schemas.microsoft.com/office/drawing/2014/main" id="{04669E7B-419A-5644-AED5-1C49C2DDBFBF}"/>
                </a:ext>
              </a:extLst>
            </p:cNvPr>
            <p:cNvCxnSpPr/>
            <p:nvPr/>
          </p:nvCxnSpPr>
          <p:spPr bwMode="gray">
            <a:xfrm rot="900000" flipV="1">
              <a:off x="358032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26">
              <a:extLst>
                <a:ext uri="{FF2B5EF4-FFF2-40B4-BE49-F238E27FC236}">
                  <a16:creationId xmlns:a16="http://schemas.microsoft.com/office/drawing/2014/main" id="{6AA70219-1256-A24C-A755-66AC98D09869}"/>
                </a:ext>
              </a:extLst>
            </p:cNvPr>
            <p:cNvCxnSpPr/>
            <p:nvPr/>
          </p:nvCxnSpPr>
          <p:spPr bwMode="gray">
            <a:xfrm rot="900000" flipV="1">
              <a:off x="430221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27">
              <a:extLst>
                <a:ext uri="{FF2B5EF4-FFF2-40B4-BE49-F238E27FC236}">
                  <a16:creationId xmlns:a16="http://schemas.microsoft.com/office/drawing/2014/main" id="{B24C70F2-B9A0-6C45-951A-E828409C682F}"/>
                </a:ext>
              </a:extLst>
            </p:cNvPr>
            <p:cNvCxnSpPr/>
            <p:nvPr/>
          </p:nvCxnSpPr>
          <p:spPr bwMode="gray">
            <a:xfrm rot="900000" flipV="1">
              <a:off x="502407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28">
              <a:extLst>
                <a:ext uri="{FF2B5EF4-FFF2-40B4-BE49-F238E27FC236}">
                  <a16:creationId xmlns:a16="http://schemas.microsoft.com/office/drawing/2014/main" id="{7ABF2CAD-95E2-8749-9AD5-E738E984C587}"/>
                </a:ext>
              </a:extLst>
            </p:cNvPr>
            <p:cNvCxnSpPr/>
            <p:nvPr/>
          </p:nvCxnSpPr>
          <p:spPr bwMode="gray">
            <a:xfrm rot="900000" flipV="1">
              <a:off x="574596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29">
              <a:extLst>
                <a:ext uri="{FF2B5EF4-FFF2-40B4-BE49-F238E27FC236}">
                  <a16:creationId xmlns:a16="http://schemas.microsoft.com/office/drawing/2014/main" id="{E702240E-FAC2-9941-AAA2-9DB4DF8F49B1}"/>
                </a:ext>
              </a:extLst>
            </p:cNvPr>
            <p:cNvCxnSpPr/>
            <p:nvPr/>
          </p:nvCxnSpPr>
          <p:spPr bwMode="gray">
            <a:xfrm rot="900000" flipV="1">
              <a:off x="646783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30">
              <a:extLst>
                <a:ext uri="{FF2B5EF4-FFF2-40B4-BE49-F238E27FC236}">
                  <a16:creationId xmlns:a16="http://schemas.microsoft.com/office/drawing/2014/main" id="{764E0093-A2F1-7D40-AF63-1F8B115E34DD}"/>
                </a:ext>
              </a:extLst>
            </p:cNvPr>
            <p:cNvCxnSpPr/>
            <p:nvPr/>
          </p:nvCxnSpPr>
          <p:spPr bwMode="gray">
            <a:xfrm rot="900000" flipV="1">
              <a:off x="718971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1">
              <a:extLst>
                <a:ext uri="{FF2B5EF4-FFF2-40B4-BE49-F238E27FC236}">
                  <a16:creationId xmlns:a16="http://schemas.microsoft.com/office/drawing/2014/main" id="{D91E9BA9-D9E9-6A4C-85E8-6DE4FC8BA370}"/>
                </a:ext>
              </a:extLst>
            </p:cNvPr>
            <p:cNvCxnSpPr/>
            <p:nvPr/>
          </p:nvCxnSpPr>
          <p:spPr bwMode="gray">
            <a:xfrm rot="900000" flipV="1">
              <a:off x="791159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32">
              <a:extLst>
                <a:ext uri="{FF2B5EF4-FFF2-40B4-BE49-F238E27FC236}">
                  <a16:creationId xmlns:a16="http://schemas.microsoft.com/office/drawing/2014/main" id="{34564AF4-A22F-B347-945F-05E8D99F57F0}"/>
                </a:ext>
              </a:extLst>
            </p:cNvPr>
            <p:cNvCxnSpPr/>
            <p:nvPr/>
          </p:nvCxnSpPr>
          <p:spPr bwMode="gray">
            <a:xfrm rot="900000" flipV="1">
              <a:off x="863347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33">
              <a:extLst>
                <a:ext uri="{FF2B5EF4-FFF2-40B4-BE49-F238E27FC236}">
                  <a16:creationId xmlns:a16="http://schemas.microsoft.com/office/drawing/2014/main" id="{22D2BA54-F739-C54E-BBB2-B9B3F6D45A4C}"/>
                </a:ext>
              </a:extLst>
            </p:cNvPr>
            <p:cNvCxnSpPr/>
            <p:nvPr/>
          </p:nvCxnSpPr>
          <p:spPr bwMode="gray">
            <a:xfrm rot="900000" flipV="1">
              <a:off x="935534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34">
              <a:extLst>
                <a:ext uri="{FF2B5EF4-FFF2-40B4-BE49-F238E27FC236}">
                  <a16:creationId xmlns:a16="http://schemas.microsoft.com/office/drawing/2014/main" id="{5AFEE169-716B-AE45-B6C9-0D222B9CF320}"/>
                </a:ext>
              </a:extLst>
            </p:cNvPr>
            <p:cNvCxnSpPr/>
            <p:nvPr/>
          </p:nvCxnSpPr>
          <p:spPr bwMode="gray">
            <a:xfrm rot="900000" flipV="1">
              <a:off x="1007723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35">
              <a:extLst>
                <a:ext uri="{FF2B5EF4-FFF2-40B4-BE49-F238E27FC236}">
                  <a16:creationId xmlns:a16="http://schemas.microsoft.com/office/drawing/2014/main" id="{7DF3915E-E2F4-4545-AAE7-EF2DC29FB5DF}"/>
                </a:ext>
              </a:extLst>
            </p:cNvPr>
            <p:cNvCxnSpPr/>
            <p:nvPr/>
          </p:nvCxnSpPr>
          <p:spPr bwMode="gray">
            <a:xfrm rot="900000" flipV="1">
              <a:off x="1079909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6">
              <a:extLst>
                <a:ext uri="{FF2B5EF4-FFF2-40B4-BE49-F238E27FC236}">
                  <a16:creationId xmlns:a16="http://schemas.microsoft.com/office/drawing/2014/main" id="{D7187716-1924-0940-A220-CA6A95F8FBBD}"/>
                </a:ext>
              </a:extLst>
            </p:cNvPr>
            <p:cNvCxnSpPr/>
            <p:nvPr/>
          </p:nvCxnSpPr>
          <p:spPr bwMode="gray">
            <a:xfrm rot="900000" flipV="1">
              <a:off x="1152097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37">
              <a:extLst>
                <a:ext uri="{FF2B5EF4-FFF2-40B4-BE49-F238E27FC236}">
                  <a16:creationId xmlns:a16="http://schemas.microsoft.com/office/drawing/2014/main" id="{D03C56D9-86A7-7C4A-8462-7C8E5320061A}"/>
                </a:ext>
              </a:extLst>
            </p:cNvPr>
            <p:cNvCxnSpPr/>
            <p:nvPr/>
          </p:nvCxnSpPr>
          <p:spPr bwMode="gray">
            <a:xfrm rot="900000" flipV="1">
              <a:off x="1224286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38">
              <a:extLst>
                <a:ext uri="{FF2B5EF4-FFF2-40B4-BE49-F238E27FC236}">
                  <a16:creationId xmlns:a16="http://schemas.microsoft.com/office/drawing/2014/main" id="{A900584B-AEC2-1C43-B3EB-9434D26A0443}"/>
                </a:ext>
              </a:extLst>
            </p:cNvPr>
            <p:cNvCxnSpPr/>
            <p:nvPr/>
          </p:nvCxnSpPr>
          <p:spPr bwMode="gray">
            <a:xfrm rot="900000" flipV="1">
              <a:off x="1296472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13">
              <a:extLst>
                <a:ext uri="{FF2B5EF4-FFF2-40B4-BE49-F238E27FC236}">
                  <a16:creationId xmlns:a16="http://schemas.microsoft.com/office/drawing/2014/main" id="{25614DF8-4087-3341-8C8D-0E21D3DC399B}"/>
                </a:ext>
              </a:extLst>
            </p:cNvPr>
            <p:cNvCxnSpPr/>
            <p:nvPr/>
          </p:nvCxnSpPr>
          <p:spPr bwMode="gray">
            <a:xfrm rot="900000" flipV="1">
              <a:off x="1368661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14">
              <a:extLst>
                <a:ext uri="{FF2B5EF4-FFF2-40B4-BE49-F238E27FC236}">
                  <a16:creationId xmlns:a16="http://schemas.microsoft.com/office/drawing/2014/main" id="{33754375-3F6A-D349-9FBE-A164BACFB8D6}"/>
                </a:ext>
              </a:extLst>
            </p:cNvPr>
            <p:cNvCxnSpPr/>
            <p:nvPr/>
          </p:nvCxnSpPr>
          <p:spPr bwMode="gray">
            <a:xfrm rot="900000" flipV="1">
              <a:off x="1440849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15">
              <a:extLst>
                <a:ext uri="{FF2B5EF4-FFF2-40B4-BE49-F238E27FC236}">
                  <a16:creationId xmlns:a16="http://schemas.microsoft.com/office/drawing/2014/main" id="{0976288C-16F4-D14A-AD1A-B6C9E86FCABC}"/>
                </a:ext>
              </a:extLst>
            </p:cNvPr>
            <p:cNvCxnSpPr/>
            <p:nvPr/>
          </p:nvCxnSpPr>
          <p:spPr bwMode="gray">
            <a:xfrm rot="900000" flipV="1">
              <a:off x="1513036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16">
              <a:extLst>
                <a:ext uri="{FF2B5EF4-FFF2-40B4-BE49-F238E27FC236}">
                  <a16:creationId xmlns:a16="http://schemas.microsoft.com/office/drawing/2014/main" id="{33AD4EDB-F6CC-1C41-8C70-23CAE61834E5}"/>
                </a:ext>
              </a:extLst>
            </p:cNvPr>
            <p:cNvCxnSpPr/>
            <p:nvPr/>
          </p:nvCxnSpPr>
          <p:spPr bwMode="gray">
            <a:xfrm rot="900000" flipV="1">
              <a:off x="1585224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17">
              <a:extLst>
                <a:ext uri="{FF2B5EF4-FFF2-40B4-BE49-F238E27FC236}">
                  <a16:creationId xmlns:a16="http://schemas.microsoft.com/office/drawing/2014/main" id="{357F72D9-75F6-7C44-B51B-362DEEF2B4F6}"/>
                </a:ext>
              </a:extLst>
            </p:cNvPr>
            <p:cNvCxnSpPr/>
            <p:nvPr/>
          </p:nvCxnSpPr>
          <p:spPr bwMode="gray">
            <a:xfrm rot="900000" flipV="1">
              <a:off x="1657413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18">
              <a:extLst>
                <a:ext uri="{FF2B5EF4-FFF2-40B4-BE49-F238E27FC236}">
                  <a16:creationId xmlns:a16="http://schemas.microsoft.com/office/drawing/2014/main" id="{6100F6C9-4F4D-F24C-A074-F6C10C716182}"/>
                </a:ext>
              </a:extLst>
            </p:cNvPr>
            <p:cNvCxnSpPr/>
            <p:nvPr/>
          </p:nvCxnSpPr>
          <p:spPr bwMode="gray">
            <a:xfrm rot="900000" flipV="1">
              <a:off x="1729599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119">
              <a:extLst>
                <a:ext uri="{FF2B5EF4-FFF2-40B4-BE49-F238E27FC236}">
                  <a16:creationId xmlns:a16="http://schemas.microsoft.com/office/drawing/2014/main" id="{4F1F26CE-EFAA-2742-A76C-C35969AD35E0}"/>
                </a:ext>
              </a:extLst>
            </p:cNvPr>
            <p:cNvCxnSpPr/>
            <p:nvPr/>
          </p:nvCxnSpPr>
          <p:spPr bwMode="gray">
            <a:xfrm rot="900000" flipV="1">
              <a:off x="1801788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115">
              <a:extLst>
                <a:ext uri="{FF2B5EF4-FFF2-40B4-BE49-F238E27FC236}">
                  <a16:creationId xmlns:a16="http://schemas.microsoft.com/office/drawing/2014/main" id="{E7A20880-1910-9E45-B42C-6C57C159F0F7}"/>
                </a:ext>
              </a:extLst>
            </p:cNvPr>
            <p:cNvCxnSpPr/>
            <p:nvPr/>
          </p:nvCxnSpPr>
          <p:spPr bwMode="gray">
            <a:xfrm rot="900000" flipV="1">
              <a:off x="-4484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116">
              <a:extLst>
                <a:ext uri="{FF2B5EF4-FFF2-40B4-BE49-F238E27FC236}">
                  <a16:creationId xmlns:a16="http://schemas.microsoft.com/office/drawing/2014/main" id="{F5FBC7D9-7BEF-E84E-BA91-982FA96EFCFE}"/>
                </a:ext>
              </a:extLst>
            </p:cNvPr>
            <p:cNvCxnSpPr/>
            <p:nvPr/>
          </p:nvCxnSpPr>
          <p:spPr bwMode="gray">
            <a:xfrm rot="900000" flipV="1">
              <a:off x="67704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117">
              <a:extLst>
                <a:ext uri="{FF2B5EF4-FFF2-40B4-BE49-F238E27FC236}">
                  <a16:creationId xmlns:a16="http://schemas.microsoft.com/office/drawing/2014/main" id="{C2FF7FA1-B39E-1C4F-8720-156800B4D26E}"/>
                </a:ext>
              </a:extLst>
            </p:cNvPr>
            <p:cNvCxnSpPr/>
            <p:nvPr/>
          </p:nvCxnSpPr>
          <p:spPr bwMode="gray">
            <a:xfrm rot="900000" flipV="1">
              <a:off x="139893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118">
              <a:extLst>
                <a:ext uri="{FF2B5EF4-FFF2-40B4-BE49-F238E27FC236}">
                  <a16:creationId xmlns:a16="http://schemas.microsoft.com/office/drawing/2014/main" id="{C5593C4E-616D-1C4B-A6B0-3AE7C268A579}"/>
                </a:ext>
              </a:extLst>
            </p:cNvPr>
            <p:cNvCxnSpPr/>
            <p:nvPr/>
          </p:nvCxnSpPr>
          <p:spPr bwMode="gray">
            <a:xfrm rot="900000" flipV="1">
              <a:off x="212079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119">
              <a:extLst>
                <a:ext uri="{FF2B5EF4-FFF2-40B4-BE49-F238E27FC236}">
                  <a16:creationId xmlns:a16="http://schemas.microsoft.com/office/drawing/2014/main" id="{E7A6AE78-13F9-C847-9629-F4A7B8ACF73F}"/>
                </a:ext>
              </a:extLst>
            </p:cNvPr>
            <p:cNvCxnSpPr/>
            <p:nvPr/>
          </p:nvCxnSpPr>
          <p:spPr bwMode="gray">
            <a:xfrm rot="900000" flipV="1">
              <a:off x="284268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5" name="Picture 2">
            <a:extLst>
              <a:ext uri="{FF2B5EF4-FFF2-40B4-BE49-F238E27FC236}">
                <a16:creationId xmlns:a16="http://schemas.microsoft.com/office/drawing/2014/main" id="{EF4DE266-C560-4F41-BD3F-94B2F382A3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4651" r="6849" b="24053"/>
          <a:stretch/>
        </p:blipFill>
        <p:spPr bwMode="auto">
          <a:xfrm>
            <a:off x="316085" y="2677450"/>
            <a:ext cx="3715725" cy="325167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" name="Picture 2">
            <a:extLst>
              <a:ext uri="{FF2B5EF4-FFF2-40B4-BE49-F238E27FC236}">
                <a16:creationId xmlns:a16="http://schemas.microsoft.com/office/drawing/2014/main" id="{76528DAB-933B-41E5-A48D-D39A7C1377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39" t="31223" r="9711" b="11091"/>
          <a:stretch/>
        </p:blipFill>
        <p:spPr bwMode="auto">
          <a:xfrm>
            <a:off x="3485055" y="3916023"/>
            <a:ext cx="3118484" cy="274174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CFBFD88B-9D6E-490A-927A-A678D421468B}"/>
              </a:ext>
            </a:extLst>
          </p:cNvPr>
          <p:cNvSpPr txBox="1"/>
          <p:nvPr/>
        </p:nvSpPr>
        <p:spPr>
          <a:xfrm>
            <a:off x="7117237" y="3149118"/>
            <a:ext cx="4777728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ажно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спользовать только максимальную дозировку </a:t>
            </a:r>
            <a:r>
              <a:rPr kumimoji="0" lang="ru-RU" sz="1800" b="1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ушкет Плюс – 0,7 л/га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ru-RU" sz="18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брабатывать полынь на ранних этапах её развития </a:t>
            </a:r>
            <a:r>
              <a:rPr kumimoji="0" lang="ru-RU" sz="1800" b="1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при высоте полыни не более 10 см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ru-RU" sz="18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бработка полыни </a:t>
            </a:r>
            <a:r>
              <a:rPr kumimoji="0" lang="ru-RU" sz="1800" b="1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 жаркую и засушливую погоду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приводит к значительному снижению эффективности</a:t>
            </a:r>
          </a:p>
        </p:txBody>
      </p:sp>
      <p:pic>
        <p:nvPicPr>
          <p:cNvPr id="49" name="Picture 4" descr="\\NAS\INSCALE_aktuelle_Projekte\Bayer\2012_Supportanfragen_divers\120808_Bildbearbeitung\Neue Dateien\TOPIC_IMAGE_016_blau.jpg">
            <a:extLst>
              <a:ext uri="{FF2B5EF4-FFF2-40B4-BE49-F238E27FC236}">
                <a16:creationId xmlns:a16="http://schemas.microsoft.com/office/drawing/2014/main" id="{5EF53DD2-9F99-4824-8091-85A25BD541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929633" y="1318269"/>
            <a:ext cx="2107848" cy="2107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3773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 p14:presetBounceEnd="50000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2DD80E02-AB44-0547-8EFB-576D5D7992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362" y="664210"/>
            <a:ext cx="534241" cy="53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el 2">
            <a:extLst>
              <a:ext uri="{FF2B5EF4-FFF2-40B4-BE49-F238E27FC236}">
                <a16:creationId xmlns:a16="http://schemas.microsoft.com/office/drawing/2014/main" id="{C93E1438-A2A5-4CA2-AC78-C632062ABCE5}"/>
              </a:ext>
            </a:extLst>
          </p:cNvPr>
          <p:cNvSpPr txBox="1">
            <a:spLocks/>
          </p:cNvSpPr>
          <p:nvPr/>
        </p:nvSpPr>
        <p:spPr bwMode="blackGray">
          <a:xfrm>
            <a:off x="2053895" y="664210"/>
            <a:ext cx="4288181" cy="85097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                Урожайность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EDA1EE93-0BFC-4231-AF1D-2079FB8F24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1431510"/>
              </p:ext>
            </p:extLst>
          </p:nvPr>
        </p:nvGraphicFramePr>
        <p:xfrm>
          <a:off x="385485" y="1360017"/>
          <a:ext cx="5477988" cy="542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Picture 2" descr="\\NAS\INSCALE_aktuelle_Projekte\Bayer\2012_Supportanfragen_divers\120808_Bildbearbeitung\Neue Dateien\TOPIC_IMAGE_039_V2_gruen.jpg">
            <a:extLst>
              <a:ext uri="{FF2B5EF4-FFF2-40B4-BE49-F238E27FC236}">
                <a16:creationId xmlns:a16="http://schemas.microsoft.com/office/drawing/2014/main" id="{A3456F07-AE27-440F-BC0D-D3551619B1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538206" y="88313"/>
            <a:ext cx="1498826" cy="1498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88369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5D9D43-28E7-3742-A14D-369A20E5AA17}"/>
              </a:ext>
            </a:extLst>
          </p:cNvPr>
          <p:cNvSpPr txBox="1">
            <a:spLocks/>
          </p:cNvSpPr>
          <p:nvPr/>
        </p:nvSpPr>
        <p:spPr bwMode="black">
          <a:xfrm>
            <a:off x="1428079" y="3740435"/>
            <a:ext cx="7498449" cy="99014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800" i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6025"/>
              </a:lnSpc>
            </a:pPr>
            <a:r>
              <a:rPr lang="ru-RU" sz="8033" dirty="0">
                <a:latin typeface="Helvetica Neue Light" panose="02000403000000020004" pitchFamily="2" charset="0"/>
                <a:ea typeface="Helvetica Neue Light" panose="02000403000000020004" pitchFamily="2" charset="0"/>
              </a:rPr>
              <a:t>Спасибо</a:t>
            </a:r>
          </a:p>
        </p:txBody>
      </p:sp>
    </p:spTree>
    <p:extLst>
      <p:ext uri="{BB962C8B-B14F-4D97-AF65-F5344CB8AC3E}">
        <p14:creationId xmlns:p14="http://schemas.microsoft.com/office/powerpoint/2010/main" val="1887589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9">
            <a:extLst>
              <a:ext uri="{FF2B5EF4-FFF2-40B4-BE49-F238E27FC236}">
                <a16:creationId xmlns:a16="http://schemas.microsoft.com/office/drawing/2014/main" id="{11AC0D54-CCAA-E748-A63B-8A33B5308B70}"/>
              </a:ext>
            </a:extLst>
          </p:cNvPr>
          <p:cNvSpPr txBox="1">
            <a:spLocks/>
          </p:cNvSpPr>
          <p:nvPr/>
        </p:nvSpPr>
        <p:spPr>
          <a:xfrm>
            <a:off x="2035661" y="664210"/>
            <a:ext cx="5220002" cy="576818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>
            <a:lvl1pPr marL="228966" indent="-228966" algn="l" defTabSz="915863" rtl="0" eaLnBrk="1" latinLnBrk="0" hangingPunct="1">
              <a:lnSpc>
                <a:spcPct val="90000"/>
              </a:lnSpc>
              <a:spcBef>
                <a:spcPts val="1002"/>
              </a:spcBef>
              <a:buFont typeface="Arial" panose="020B0604020202020204" pitchFamily="34" charset="0"/>
              <a:buChar char="•"/>
              <a:defRPr sz="1700" kern="1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686897" indent="-228966" algn="l" defTabSz="915863" rtl="0" eaLnBrk="1" latinLnBrk="0" hangingPunct="1">
              <a:lnSpc>
                <a:spcPct val="90000"/>
              </a:lnSpc>
              <a:spcBef>
                <a:spcPts val="501"/>
              </a:spcBef>
              <a:buFont typeface="Arial" panose="020B0604020202020204" pitchFamily="34" charset="0"/>
              <a:buChar char="•"/>
              <a:defRPr sz="2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829" indent="-228966" algn="l" defTabSz="915863" rtl="0" eaLnBrk="1" latinLnBrk="0" hangingPunct="1">
              <a:lnSpc>
                <a:spcPct val="90000"/>
              </a:lnSpc>
              <a:spcBef>
                <a:spcPts val="501"/>
              </a:spcBef>
              <a:buFont typeface="Arial" panose="020B0604020202020204" pitchFamily="34" charset="0"/>
              <a:buChar char="•"/>
              <a:defRPr sz="20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2760" indent="-228966" algn="l" defTabSz="915863" rtl="0" eaLnBrk="1" latinLnBrk="0" hangingPunct="1">
              <a:lnSpc>
                <a:spcPct val="90000"/>
              </a:lnSpc>
              <a:spcBef>
                <a:spcPts val="501"/>
              </a:spcBef>
              <a:buFont typeface="Arial" panose="020B0604020202020204" pitchFamily="34" charset="0"/>
              <a:buChar char="•"/>
              <a:defRPr sz="18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60692" indent="-228966" algn="l" defTabSz="915863" rtl="0" eaLnBrk="1" latinLnBrk="0" hangingPunct="1">
              <a:lnSpc>
                <a:spcPct val="90000"/>
              </a:lnSpc>
              <a:spcBef>
                <a:spcPts val="501"/>
              </a:spcBef>
              <a:buFont typeface="Arial" panose="020B0604020202020204" pitchFamily="34" charset="0"/>
              <a:buChar char="•"/>
              <a:defRPr sz="18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8623" indent="-228966" algn="l" defTabSz="915863" rtl="0" eaLnBrk="1" latinLnBrk="0" hangingPunct="1">
              <a:lnSpc>
                <a:spcPct val="90000"/>
              </a:lnSpc>
              <a:spcBef>
                <a:spcPts val="501"/>
              </a:spcBef>
              <a:buFont typeface="Arial" panose="020B0604020202020204" pitchFamily="34" charset="0"/>
              <a:buChar char="•"/>
              <a:defRPr sz="18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6555" indent="-228966" algn="l" defTabSz="915863" rtl="0" eaLnBrk="1" latinLnBrk="0" hangingPunct="1">
              <a:lnSpc>
                <a:spcPct val="90000"/>
              </a:lnSpc>
              <a:spcBef>
                <a:spcPts val="501"/>
              </a:spcBef>
              <a:buFont typeface="Arial" panose="020B0604020202020204" pitchFamily="34" charset="0"/>
              <a:buChar char="•"/>
              <a:defRPr sz="18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4486" indent="-228966" algn="l" defTabSz="915863" rtl="0" eaLnBrk="1" latinLnBrk="0" hangingPunct="1">
              <a:lnSpc>
                <a:spcPct val="90000"/>
              </a:lnSpc>
              <a:spcBef>
                <a:spcPts val="501"/>
              </a:spcBef>
              <a:buFont typeface="Arial" panose="020B0604020202020204" pitchFamily="34" charset="0"/>
              <a:buChar char="•"/>
              <a:defRPr sz="18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92418" indent="-228966" algn="l" defTabSz="915863" rtl="0" eaLnBrk="1" latinLnBrk="0" hangingPunct="1">
              <a:lnSpc>
                <a:spcPct val="90000"/>
              </a:lnSpc>
              <a:spcBef>
                <a:spcPts val="501"/>
              </a:spcBef>
              <a:buFont typeface="Arial" panose="020B0604020202020204" pitchFamily="34" charset="0"/>
              <a:buChar char="•"/>
              <a:defRPr sz="18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3200" dirty="0">
                <a:solidFill>
                  <a:schemeClr val="accent2"/>
                </a:solidFill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Паспорт препарата</a:t>
            </a:r>
            <a:endParaRPr lang="en-US" sz="3200" dirty="0">
              <a:solidFill>
                <a:schemeClr val="accent2"/>
              </a:solidFill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A7FF5B5-7DF4-F444-A8E0-F2868751E9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362" y="664210"/>
            <a:ext cx="534241" cy="53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B7E9F2B9-C6DC-49BE-945C-FD5425747F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4077963"/>
              </p:ext>
            </p:extLst>
          </p:nvPr>
        </p:nvGraphicFramePr>
        <p:xfrm>
          <a:off x="221047" y="1421254"/>
          <a:ext cx="6636954" cy="435338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02616">
                  <a:extLst>
                    <a:ext uri="{9D8B030D-6E8A-4147-A177-3AD203B41FA5}">
                      <a16:colId xmlns:a16="http://schemas.microsoft.com/office/drawing/2014/main" val="3811574948"/>
                    </a:ext>
                  </a:extLst>
                </a:gridCol>
                <a:gridCol w="5034338">
                  <a:extLst>
                    <a:ext uri="{9D8B030D-6E8A-4147-A177-3AD203B41FA5}">
                      <a16:colId xmlns:a16="http://schemas.microsoft.com/office/drawing/2014/main" val="1511246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lvl="1" algn="r" defTabSz="457200" rtl="0" eaLnBrk="1" latinLnBrk="0" hangingPunct="1">
                        <a:spcBef>
                          <a:spcPts val="600"/>
                        </a:spcBef>
                        <a:buSzPct val="100000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Назначение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-342900" algn="l" defTabSz="457200" rtl="0" eaLnBrk="1" latinLnBrk="0" hangingPunct="1">
                        <a:spcBef>
                          <a:spcPts val="600"/>
                        </a:spcBef>
                        <a:buClr>
                          <a:srgbClr val="00B0F0"/>
                        </a:buClr>
                        <a:buSzPct val="100000"/>
                        <a:buFont typeface="Calibri" panose="020F0502020204030204" pitchFamily="34" charset="0"/>
                        <a:buChar char="/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0" kern="1200" dirty="0">
                          <a:solidFill>
                            <a:schemeClr val="accent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слевсходовый гербицид для контроля широкого спектра двудольных сорняков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82072"/>
                  </a:ext>
                </a:extLst>
              </a:tr>
              <a:tr h="415276">
                <a:tc>
                  <a:txBody>
                    <a:bodyPr/>
                    <a:lstStyle/>
                    <a:p>
                      <a:pPr marL="0" lvl="1" algn="r" defTabSz="457200" rtl="0" eaLnBrk="1" latinLnBrk="0" hangingPunct="1">
                        <a:spcBef>
                          <a:spcPts val="600"/>
                        </a:spcBef>
                        <a:buSzPct val="100000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Действующие вещества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-342900" algn="l" defTabSz="457200" rtl="0" eaLnBrk="1" latinLnBrk="0" hangingPunct="1">
                        <a:spcBef>
                          <a:spcPts val="600"/>
                        </a:spcBef>
                        <a:buClr>
                          <a:srgbClr val="00B0F0"/>
                        </a:buClr>
                        <a:buSzPct val="100000"/>
                        <a:buFont typeface="Calibri" panose="020F0502020204030204" pitchFamily="34" charset="0"/>
                        <a:buChar char="/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0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 г/л йодосульфурон-метил-натрия</a:t>
                      </a:r>
                    </a:p>
                    <a:p>
                      <a:pPr marL="0" lvl="1" indent="-342900" algn="l" defTabSz="457200" rtl="0" eaLnBrk="1" latinLnBrk="0" hangingPunct="1">
                        <a:spcBef>
                          <a:spcPts val="600"/>
                        </a:spcBef>
                        <a:buClr>
                          <a:srgbClr val="00B0F0"/>
                        </a:buClr>
                        <a:buSzPct val="100000"/>
                        <a:buFont typeface="Calibri" panose="020F0502020204030204" pitchFamily="34" charset="0"/>
                        <a:buChar char="/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0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5,2 г/л 2,4-Д кислоты в виде 2-этилгексилового эфира</a:t>
                      </a:r>
                    </a:p>
                    <a:p>
                      <a:pPr marL="0" lvl="1" indent="-342900" algn="l" defTabSz="457200" rtl="0" eaLnBrk="1" latinLnBrk="0" hangingPunct="1">
                        <a:spcBef>
                          <a:spcPts val="600"/>
                        </a:spcBef>
                        <a:buClr>
                          <a:srgbClr val="00B0F0"/>
                        </a:buClr>
                        <a:buSzPct val="100000"/>
                        <a:buFont typeface="Calibri" panose="020F0502020204030204" pitchFamily="34" charset="0"/>
                        <a:buChar char="/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0" kern="1200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 г/л мефенпир-диэтил (антидот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5951250"/>
                  </a:ext>
                </a:extLst>
              </a:tr>
              <a:tr h="389476">
                <a:tc>
                  <a:txBody>
                    <a:bodyPr/>
                    <a:lstStyle/>
                    <a:p>
                      <a:pPr marL="0" lvl="1" algn="r" defTabSz="457200" rtl="0" eaLnBrk="1" latinLnBrk="0" hangingPunct="1">
                        <a:spcBef>
                          <a:spcPts val="600"/>
                        </a:spcBef>
                        <a:buSzPct val="100000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Формуляция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1" indent="-285750" algn="l" defTabSz="457200" rtl="0" eaLnBrk="1" latinLnBrk="0" hangingPunct="1">
                        <a:spcBef>
                          <a:spcPts val="600"/>
                        </a:spcBef>
                        <a:buClr>
                          <a:srgbClr val="00B0F0"/>
                        </a:buClr>
                        <a:buSzPct val="100000"/>
                        <a:buFont typeface="Calibri" panose="020F0502020204030204" pitchFamily="34" charset="0"/>
                        <a:buChar char="/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1" kern="1200" dirty="0">
                          <a:solidFill>
                            <a:schemeClr val="accent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сляная дисперсия (МД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9105710"/>
                  </a:ext>
                </a:extLst>
              </a:tr>
              <a:tr h="1044286">
                <a:tc>
                  <a:txBody>
                    <a:bodyPr/>
                    <a:lstStyle/>
                    <a:p>
                      <a:pPr marL="0" lvl="1" algn="r" defTabSz="457200" rtl="0" eaLnBrk="1" latinLnBrk="0" hangingPunct="1">
                        <a:spcBef>
                          <a:spcPts val="600"/>
                        </a:spcBef>
                        <a:buSzPct val="100000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Культуры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1" indent="-285750" algn="l" defTabSz="457200" rtl="0" eaLnBrk="1" latinLnBrk="0" hangingPunct="1">
                        <a:spcBef>
                          <a:spcPts val="0"/>
                        </a:spcBef>
                        <a:buClr>
                          <a:srgbClr val="00B0F0"/>
                        </a:buClr>
                        <a:buSzPct val="100000"/>
                        <a:buFontTx/>
                        <a:buChar char="/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1" kern="120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шеница яровая</a:t>
                      </a:r>
                    </a:p>
                    <a:p>
                      <a:pPr marL="285750" lvl="1" indent="-285750" algn="l" defTabSz="457200" rtl="0" eaLnBrk="1" latinLnBrk="0" hangingPunct="1">
                        <a:spcBef>
                          <a:spcPts val="0"/>
                        </a:spcBef>
                        <a:buClr>
                          <a:srgbClr val="00B0F0"/>
                        </a:buClr>
                        <a:buSzPct val="100000"/>
                        <a:buFontTx/>
                        <a:buChar char="/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1" kern="120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шеница озимая</a:t>
                      </a:r>
                    </a:p>
                    <a:p>
                      <a:pPr marL="285750" lvl="1" indent="-285750" algn="l" defTabSz="457200" rtl="0" eaLnBrk="1" latinLnBrk="0" hangingPunct="1">
                        <a:spcBef>
                          <a:spcPts val="0"/>
                        </a:spcBef>
                        <a:buClr>
                          <a:srgbClr val="00B0F0"/>
                        </a:buClr>
                        <a:buSzPct val="100000"/>
                        <a:buFontTx/>
                        <a:buChar char="/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1" kern="120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чмень яровой</a:t>
                      </a:r>
                    </a:p>
                    <a:p>
                      <a:pPr marL="285750" lvl="1" indent="-285750" algn="l" defTabSz="457200" rtl="0" eaLnBrk="1" latinLnBrk="0" hangingPunct="1">
                        <a:spcBef>
                          <a:spcPts val="0"/>
                        </a:spcBef>
                        <a:buClr>
                          <a:srgbClr val="00B0F0"/>
                        </a:buClr>
                        <a:buSzPct val="100000"/>
                        <a:buFontTx/>
                        <a:buChar char="/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1" kern="120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чмень озимый</a:t>
                      </a:r>
                    </a:p>
                    <a:p>
                      <a:pPr marL="285750" lvl="1" indent="-285750" algn="l" defTabSz="457200" rtl="0" eaLnBrk="1" latinLnBrk="0" hangingPunct="1">
                        <a:spcBef>
                          <a:spcPts val="0"/>
                        </a:spcBef>
                        <a:buClr>
                          <a:srgbClr val="00B0F0"/>
                        </a:buClr>
                        <a:buSzPct val="100000"/>
                        <a:buFontTx/>
                        <a:buChar char="/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1" kern="120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жь озимая</a:t>
                      </a:r>
                    </a:p>
                    <a:p>
                      <a:pPr marL="285750" lvl="1" indent="-285750" algn="l" defTabSz="457200" rtl="0" eaLnBrk="1" latinLnBrk="0" hangingPunct="1">
                        <a:spcBef>
                          <a:spcPts val="0"/>
                        </a:spcBef>
                        <a:buClr>
                          <a:srgbClr val="00B0F0"/>
                        </a:buClr>
                        <a:buSzPct val="100000"/>
                        <a:buFontTx/>
                        <a:buChar char="/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1" kern="120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итикале озимая</a:t>
                      </a:r>
                    </a:p>
                    <a:p>
                      <a:pPr marL="285750" lvl="1" indent="-285750" algn="l" defTabSz="457200" rtl="0" eaLnBrk="1" latinLnBrk="0" hangingPunct="1">
                        <a:spcBef>
                          <a:spcPts val="0"/>
                        </a:spcBef>
                        <a:buClr>
                          <a:srgbClr val="00B0F0"/>
                        </a:buClr>
                        <a:buSzPct val="100000"/>
                        <a:buFontTx/>
                        <a:buChar char="/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1" kern="120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куруз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5251164"/>
                  </a:ext>
                </a:extLst>
              </a:tr>
              <a:tr h="367265">
                <a:tc>
                  <a:txBody>
                    <a:bodyPr/>
                    <a:lstStyle/>
                    <a:p>
                      <a:pPr marL="0" lvl="1" algn="r" defTabSz="457200" rtl="0" eaLnBrk="1" latinLnBrk="0" hangingPunct="1">
                        <a:spcBef>
                          <a:spcPts val="600"/>
                        </a:spcBef>
                        <a:buSzPct val="100000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Дозировка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1" indent="-285750" algn="l" defTabSz="457200" rtl="0" eaLnBrk="1" latinLnBrk="0" hangingPunct="1">
                        <a:spcBef>
                          <a:spcPts val="0"/>
                        </a:spcBef>
                        <a:buClr>
                          <a:srgbClr val="00B0F0"/>
                        </a:buClr>
                        <a:buSzPct val="100000"/>
                        <a:buFontTx/>
                        <a:buChar char="/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 – 0,7 л/г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8365695"/>
                  </a:ext>
                </a:extLst>
              </a:tr>
            </a:tbl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597529C4-4865-4EE9-8B8B-D95A52F534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0703955"/>
              </p:ext>
            </p:extLst>
          </p:nvPr>
        </p:nvGraphicFramePr>
        <p:xfrm>
          <a:off x="263188" y="5833566"/>
          <a:ext cx="5287617" cy="822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18301">
                  <a:extLst>
                    <a:ext uri="{9D8B030D-6E8A-4147-A177-3AD203B41FA5}">
                      <a16:colId xmlns:a16="http://schemas.microsoft.com/office/drawing/2014/main" val="3811574948"/>
                    </a:ext>
                  </a:extLst>
                </a:gridCol>
                <a:gridCol w="3769316">
                  <a:extLst>
                    <a:ext uri="{9D8B030D-6E8A-4147-A177-3AD203B41FA5}">
                      <a16:colId xmlns:a16="http://schemas.microsoft.com/office/drawing/2014/main" val="15112464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lvl="1" algn="r" defTabSz="457200" rtl="0" eaLnBrk="1" latinLnBrk="0" hangingPunct="1">
                        <a:spcBef>
                          <a:spcPts val="600"/>
                        </a:spcBef>
                        <a:buSzPct val="100000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i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Сроки применения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1" indent="-285750" algn="l" defTabSz="457200" rtl="0" eaLnBrk="1" latinLnBrk="0" hangingPunct="1">
                        <a:spcBef>
                          <a:spcPts val="0"/>
                        </a:spcBef>
                        <a:buClr>
                          <a:srgbClr val="00B0F0"/>
                        </a:buClr>
                        <a:buSzPct val="100000"/>
                        <a:buFontTx/>
                        <a:buChar char="/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b="1" i="0" kern="1200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ерновые:</a:t>
                      </a:r>
                      <a:r>
                        <a:rPr lang="ru-RU" sz="1600" i="1" kern="1200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есной от 3-х листьев до 2-го междоузлия</a:t>
                      </a:r>
                    </a:p>
                    <a:p>
                      <a:pPr marL="285750" lvl="1" indent="-285750" algn="l" defTabSz="457200" rtl="0" eaLnBrk="1" latinLnBrk="0" hangingPunct="1">
                        <a:spcBef>
                          <a:spcPts val="0"/>
                        </a:spcBef>
                        <a:buClr>
                          <a:srgbClr val="00B0F0"/>
                        </a:buClr>
                        <a:buSzPct val="100000"/>
                        <a:buFontTx/>
                        <a:buChar char="/"/>
                        <a:defRPr>
                          <a:solidFill>
                            <a:srgbClr val="FFFFFF"/>
                          </a:solidFill>
                          <a:latin typeface="Helvetica Neue"/>
                          <a:ea typeface="Helvetica Neue"/>
                          <a:cs typeface="Helvetica Neue"/>
                          <a:sym typeface="Helvetica Neue"/>
                        </a:defRPr>
                      </a:pPr>
                      <a:r>
                        <a:rPr lang="ru-RU" sz="1600" b="1" i="0" kern="1200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куруза:</a:t>
                      </a:r>
                      <a:r>
                        <a:rPr lang="ru-RU" sz="1600" i="1" kern="1200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-5 листьев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43111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48886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4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6533F95E-BC8C-244D-96DD-FE5C101B33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9848" y="655646"/>
            <a:ext cx="526971" cy="527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1652008-1764-4FB5-92A1-5166691F0F4F}"/>
              </a:ext>
            </a:extLst>
          </p:cNvPr>
          <p:cNvSpPr/>
          <p:nvPr/>
        </p:nvSpPr>
        <p:spPr>
          <a:xfrm>
            <a:off x="626765" y="1577112"/>
            <a:ext cx="5220002" cy="55399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spcBef>
                <a:spcPts val="600"/>
              </a:spcBef>
              <a:buSzPct val="100000"/>
              <a:buBlip>
                <a:blip r:embed="rId6"/>
              </a:buBlip>
              <a:defRPr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ru-RU" altLang="ru-RU" sz="1600" b="1" dirty="0">
                <a:solidFill>
                  <a:srgbClr val="00B0F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Безопасность для культуры </a:t>
            </a:r>
            <a:r>
              <a:rPr lang="ru-RU" altLang="ru-RU" sz="1600" i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– содержит в своём составе высокоэффективный антидот (мефенпир-диэтил).</a:t>
            </a:r>
          </a:p>
          <a:p>
            <a:pPr marL="285750" lvl="1" indent="-285750">
              <a:spcBef>
                <a:spcPts val="600"/>
              </a:spcBef>
              <a:buSzPct val="100000"/>
              <a:buBlip>
                <a:blip r:embed="rId6"/>
              </a:buBlip>
              <a:defRPr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endParaRPr lang="ru-RU" altLang="ru-RU" sz="1600" i="1" dirty="0">
              <a:solidFill>
                <a:schemeClr val="bg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285750" lvl="1" indent="-285750">
              <a:spcBef>
                <a:spcPts val="600"/>
              </a:spcBef>
              <a:buSzPct val="100000"/>
              <a:buBlip>
                <a:blip r:embed="rId6"/>
              </a:buBlip>
              <a:defRPr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ru-RU" altLang="ru-RU" sz="1600" b="1" dirty="0">
                <a:solidFill>
                  <a:srgbClr val="00B0F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Формуляция масляная дисперсия </a:t>
            </a:r>
            <a:r>
              <a:rPr lang="ru-RU" altLang="ru-RU" sz="1600" i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- высокая эффективность против сорняков (в т.ч. трудноискоренимых и переросших) даже в неблагоприятных погодных условиях (дождливая погода, засуха)).</a:t>
            </a:r>
          </a:p>
          <a:p>
            <a:pPr marL="285750" lvl="1" indent="-285750">
              <a:spcBef>
                <a:spcPts val="600"/>
              </a:spcBef>
              <a:buSzPct val="100000"/>
              <a:buBlip>
                <a:blip r:embed="rId6"/>
              </a:buBlip>
              <a:defRPr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endParaRPr lang="ru-RU" altLang="ru-RU" sz="1600" i="1" dirty="0">
              <a:solidFill>
                <a:schemeClr val="bg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285750" lvl="1" indent="-285750">
              <a:spcBef>
                <a:spcPts val="600"/>
              </a:spcBef>
              <a:buSzPct val="100000"/>
              <a:buBlip>
                <a:blip r:embed="rId6"/>
              </a:buBlip>
              <a:defRPr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ru-RU" altLang="ru-RU" sz="1600" b="1" dirty="0">
                <a:solidFill>
                  <a:srgbClr val="00B0F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Широкое окно применения </a:t>
            </a:r>
            <a:r>
              <a:rPr lang="ru-RU" altLang="ru-RU" sz="1600" i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(от 3-х листьев до 2-го междоузлия на зерновых культурах) – за счёт наличия антидота и инновационной формуляции.</a:t>
            </a:r>
          </a:p>
          <a:p>
            <a:pPr marL="285750" lvl="1" indent="-285750">
              <a:spcBef>
                <a:spcPts val="600"/>
              </a:spcBef>
              <a:buSzPct val="100000"/>
              <a:buBlip>
                <a:blip r:embed="rId6"/>
              </a:buBlip>
              <a:defRPr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endParaRPr lang="ru-RU" altLang="ru-RU" sz="1600" i="1" dirty="0">
              <a:solidFill>
                <a:schemeClr val="bg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marL="285750" lvl="1" indent="-285750">
              <a:spcBef>
                <a:spcPts val="600"/>
              </a:spcBef>
              <a:buSzPct val="100000"/>
              <a:buBlip>
                <a:blip r:embed="rId6"/>
              </a:buBlip>
              <a:defRPr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ru-RU" altLang="ru-RU" sz="1600" b="1" dirty="0">
                <a:solidFill>
                  <a:srgbClr val="00B0F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Широкий спектр контролируемых сорняков </a:t>
            </a:r>
            <a:r>
              <a:rPr lang="ru-RU" altLang="ru-RU" sz="1600" i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– содержит в своём составе действующие вещества из различных химических классов (сульфонилмочевина + гормональное).</a:t>
            </a:r>
          </a:p>
          <a:p>
            <a:pPr lvl="1">
              <a:spcBef>
                <a:spcPts val="600"/>
              </a:spcBef>
              <a:buSzPct val="100000"/>
              <a:defRPr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endParaRPr lang="ru-RU" sz="1500" i="1" dirty="0">
              <a:solidFill>
                <a:schemeClr val="bg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  <a:sym typeface="Helvetica Neue"/>
            </a:endParaRPr>
          </a:p>
        </p:txBody>
      </p:sp>
      <p:grpSp>
        <p:nvGrpSpPr>
          <p:cNvPr id="5" name="Post-It long green">
            <a:extLst>
              <a:ext uri="{FF2B5EF4-FFF2-40B4-BE49-F238E27FC236}">
                <a16:creationId xmlns:a16="http://schemas.microsoft.com/office/drawing/2014/main" id="{FEAA9D18-0A09-4BD6-848A-8B054634A574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1206819" y="346901"/>
            <a:ext cx="6626664" cy="1400748"/>
            <a:chOff x="850461" y="4961360"/>
            <a:chExt cx="1962274" cy="815514"/>
          </a:xfrm>
        </p:grpSpPr>
        <p:pic>
          <p:nvPicPr>
            <p:cNvPr id="8" name="Grafik 8">
              <a:extLst>
                <a:ext uri="{FF2B5EF4-FFF2-40B4-BE49-F238E27FC236}">
                  <a16:creationId xmlns:a16="http://schemas.microsoft.com/office/drawing/2014/main" id="{194DD8E7-B98D-4775-96C3-F25EFB6376AF}"/>
                </a:ext>
              </a:extLst>
            </p:cNvPr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7"/>
            <a:stretch>
              <a:fillRect/>
            </a:stretch>
          </p:blipFill>
          <p:spPr>
            <a:xfrm>
              <a:off x="850461" y="4961360"/>
              <a:ext cx="1962274" cy="815514"/>
            </a:xfrm>
            <a:prstGeom prst="rect">
              <a:avLst/>
            </a:prstGeom>
          </p:spPr>
        </p:pic>
        <p:sp>
          <p:nvSpPr>
            <p:cNvPr id="9" name="Post-It long green">
              <a:extLst>
                <a:ext uri="{FF2B5EF4-FFF2-40B4-BE49-F238E27FC236}">
                  <a16:creationId xmlns:a16="http://schemas.microsoft.com/office/drawing/2014/main" id="{AF7F7BD8-EF2E-4E06-AFE8-44AAADA36ED1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989134" y="5081351"/>
              <a:ext cx="1325441" cy="415720"/>
            </a:xfrm>
            <a:prstGeom prst="rect">
              <a:avLst/>
            </a:prstGeom>
            <a:noFill/>
          </p:spPr>
          <p:txBody>
            <a:bodyPr anchor="ctr"/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7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8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6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9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10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10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10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10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80000" indent="-2700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Blip>
                  <a:blip r:embed="rId10"/>
                </a:buBlip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3600" b="1" dirty="0">
                  <a:solidFill>
                    <a:schemeClr val="bg1"/>
                  </a:solidFill>
                  <a:latin typeface="Helvetica Neue Light"/>
                </a:rPr>
                <a:t>Преимуществ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197515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2DD80E02-AB44-0547-8EFB-576D5D7992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1362" y="664210"/>
            <a:ext cx="534241" cy="53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el 2">
            <a:extLst>
              <a:ext uri="{FF2B5EF4-FFF2-40B4-BE49-F238E27FC236}">
                <a16:creationId xmlns:a16="http://schemas.microsoft.com/office/drawing/2014/main" id="{B637A009-5C3E-474F-B805-63BC946C714D}"/>
              </a:ext>
            </a:extLst>
          </p:cNvPr>
          <p:cNvSpPr txBox="1">
            <a:spLocks/>
          </p:cNvSpPr>
          <p:nvPr/>
        </p:nvSpPr>
        <p:spPr bwMode="blackGray">
          <a:xfrm>
            <a:off x="1879068" y="436513"/>
            <a:ext cx="4185501" cy="114659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b="1" dirty="0">
                <a:solidFill>
                  <a:srgbClr val="ED7D31"/>
                </a:solidFill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Механизм действия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6B26CE1-A24E-4300-98DE-4CD454D34D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318" t="39477" r="53912" b="36369"/>
          <a:stretch/>
        </p:blipFill>
        <p:spPr>
          <a:xfrm>
            <a:off x="323432" y="1536959"/>
            <a:ext cx="1444082" cy="1247147"/>
          </a:xfrm>
          <a:prstGeom prst="rect">
            <a:avLst/>
          </a:prstGeom>
        </p:spPr>
      </p:pic>
      <p:sp>
        <p:nvSpPr>
          <p:cNvPr id="10" name="Прямоугольник 2">
            <a:extLst>
              <a:ext uri="{FF2B5EF4-FFF2-40B4-BE49-F238E27FC236}">
                <a16:creationId xmlns:a16="http://schemas.microsoft.com/office/drawing/2014/main" id="{D8836347-78F0-428E-A99E-E332BA6FE211}"/>
              </a:ext>
            </a:extLst>
          </p:cNvPr>
          <p:cNvSpPr/>
          <p:nvPr/>
        </p:nvSpPr>
        <p:spPr>
          <a:xfrm>
            <a:off x="1989056" y="1404544"/>
            <a:ext cx="4502878" cy="425501"/>
          </a:xfrm>
          <a:custGeom>
            <a:avLst/>
            <a:gdLst>
              <a:gd name="connsiteX0" fmla="*/ 0 w 3910511"/>
              <a:gd name="connsiteY0" fmla="*/ 0 h 2303451"/>
              <a:gd name="connsiteX1" fmla="*/ 3910511 w 3910511"/>
              <a:gd name="connsiteY1" fmla="*/ 0 h 2303451"/>
              <a:gd name="connsiteX2" fmla="*/ 3910511 w 3910511"/>
              <a:gd name="connsiteY2" fmla="*/ 2303451 h 2303451"/>
              <a:gd name="connsiteX3" fmla="*/ 0 w 3910511"/>
              <a:gd name="connsiteY3" fmla="*/ 2303451 h 2303451"/>
              <a:gd name="connsiteX4" fmla="*/ 0 w 3910511"/>
              <a:gd name="connsiteY4" fmla="*/ 0 h 2303451"/>
              <a:gd name="connsiteX0" fmla="*/ 2205872 w 6116383"/>
              <a:gd name="connsiteY0" fmla="*/ 0 h 2303451"/>
              <a:gd name="connsiteX1" fmla="*/ 6116383 w 6116383"/>
              <a:gd name="connsiteY1" fmla="*/ 0 h 2303451"/>
              <a:gd name="connsiteX2" fmla="*/ 6116383 w 6116383"/>
              <a:gd name="connsiteY2" fmla="*/ 2303451 h 2303451"/>
              <a:gd name="connsiteX3" fmla="*/ 0 w 6116383"/>
              <a:gd name="connsiteY3" fmla="*/ 1634148 h 2303451"/>
              <a:gd name="connsiteX4" fmla="*/ 2205872 w 6116383"/>
              <a:gd name="connsiteY4" fmla="*/ 0 h 2303451"/>
              <a:gd name="connsiteX0" fmla="*/ 2205872 w 6116383"/>
              <a:gd name="connsiteY0" fmla="*/ 0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205872 w 6116383"/>
              <a:gd name="connsiteY4" fmla="*/ 0 h 1690708"/>
              <a:gd name="connsiteX0" fmla="*/ 2894028 w 6116383"/>
              <a:gd name="connsiteY0" fmla="*/ 235671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235671 h 1690708"/>
              <a:gd name="connsiteX0" fmla="*/ 2894028 w 6116383"/>
              <a:gd name="connsiteY0" fmla="*/ 37708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37708 h 1690708"/>
              <a:gd name="connsiteX0" fmla="*/ 2894028 w 6116383"/>
              <a:gd name="connsiteY0" fmla="*/ 37708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37708 h 1690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16383" h="1690708">
                <a:moveTo>
                  <a:pt x="2894028" y="37708"/>
                </a:moveTo>
                <a:lnTo>
                  <a:pt x="6116383" y="0"/>
                </a:lnTo>
                <a:lnTo>
                  <a:pt x="6031541" y="1690708"/>
                </a:lnTo>
                <a:lnTo>
                  <a:pt x="0" y="1634148"/>
                </a:lnTo>
                <a:cubicBezTo>
                  <a:pt x="964676" y="1102001"/>
                  <a:pt x="175966" y="805525"/>
                  <a:pt x="2894028" y="37708"/>
                </a:cubicBezTo>
                <a:close/>
              </a:path>
            </a:pathLst>
          </a:cu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000" b="1" dirty="0">
                <a:solidFill>
                  <a:srgbClr val="1AE33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Йодосульфурон-метил-натрия</a:t>
            </a:r>
          </a:p>
        </p:txBody>
      </p:sp>
      <p:sp>
        <p:nvSpPr>
          <p:cNvPr id="11" name="Прямоугольник 2">
            <a:extLst>
              <a:ext uri="{FF2B5EF4-FFF2-40B4-BE49-F238E27FC236}">
                <a16:creationId xmlns:a16="http://schemas.microsoft.com/office/drawing/2014/main" id="{1E56DA66-F500-4A54-B147-051BE25084FD}"/>
              </a:ext>
            </a:extLst>
          </p:cNvPr>
          <p:cNvSpPr/>
          <p:nvPr/>
        </p:nvSpPr>
        <p:spPr>
          <a:xfrm>
            <a:off x="1879068" y="1808746"/>
            <a:ext cx="4785682" cy="1068819"/>
          </a:xfrm>
          <a:custGeom>
            <a:avLst/>
            <a:gdLst>
              <a:gd name="connsiteX0" fmla="*/ 0 w 3910511"/>
              <a:gd name="connsiteY0" fmla="*/ 0 h 2303451"/>
              <a:gd name="connsiteX1" fmla="*/ 3910511 w 3910511"/>
              <a:gd name="connsiteY1" fmla="*/ 0 h 2303451"/>
              <a:gd name="connsiteX2" fmla="*/ 3910511 w 3910511"/>
              <a:gd name="connsiteY2" fmla="*/ 2303451 h 2303451"/>
              <a:gd name="connsiteX3" fmla="*/ 0 w 3910511"/>
              <a:gd name="connsiteY3" fmla="*/ 2303451 h 2303451"/>
              <a:gd name="connsiteX4" fmla="*/ 0 w 3910511"/>
              <a:gd name="connsiteY4" fmla="*/ 0 h 2303451"/>
              <a:gd name="connsiteX0" fmla="*/ 2205872 w 6116383"/>
              <a:gd name="connsiteY0" fmla="*/ 0 h 2303451"/>
              <a:gd name="connsiteX1" fmla="*/ 6116383 w 6116383"/>
              <a:gd name="connsiteY1" fmla="*/ 0 h 2303451"/>
              <a:gd name="connsiteX2" fmla="*/ 6116383 w 6116383"/>
              <a:gd name="connsiteY2" fmla="*/ 2303451 h 2303451"/>
              <a:gd name="connsiteX3" fmla="*/ 0 w 6116383"/>
              <a:gd name="connsiteY3" fmla="*/ 1634148 h 2303451"/>
              <a:gd name="connsiteX4" fmla="*/ 2205872 w 6116383"/>
              <a:gd name="connsiteY4" fmla="*/ 0 h 2303451"/>
              <a:gd name="connsiteX0" fmla="*/ 2205872 w 6116383"/>
              <a:gd name="connsiteY0" fmla="*/ 0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205872 w 6116383"/>
              <a:gd name="connsiteY4" fmla="*/ 0 h 1690708"/>
              <a:gd name="connsiteX0" fmla="*/ 2894028 w 6116383"/>
              <a:gd name="connsiteY0" fmla="*/ 235671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235671 h 1690708"/>
              <a:gd name="connsiteX0" fmla="*/ 2894028 w 6116383"/>
              <a:gd name="connsiteY0" fmla="*/ 37708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37708 h 1690708"/>
              <a:gd name="connsiteX0" fmla="*/ 2894028 w 6116383"/>
              <a:gd name="connsiteY0" fmla="*/ 37708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37708 h 1690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16383" h="1690708">
                <a:moveTo>
                  <a:pt x="2894028" y="37708"/>
                </a:moveTo>
                <a:lnTo>
                  <a:pt x="6116383" y="0"/>
                </a:lnTo>
                <a:lnTo>
                  <a:pt x="6031541" y="1690708"/>
                </a:lnTo>
                <a:lnTo>
                  <a:pt x="0" y="1634148"/>
                </a:lnTo>
                <a:cubicBezTo>
                  <a:pt x="964676" y="1102001"/>
                  <a:pt x="175966" y="805525"/>
                  <a:pt x="2894028" y="37708"/>
                </a:cubicBezTo>
                <a:close/>
              </a:path>
            </a:pathLst>
          </a:cu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гибирует фермент ацетолактатсинтазу (</a:t>
            </a:r>
            <a:r>
              <a: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S</a:t>
            </a:r>
            <a:r>
              <a:rPr lang="ru-RU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ингибитор). Это приводит к остановке клеточного деления и роста сорняка. Прежде всего, воздействует на точки роста сорняков.</a:t>
            </a:r>
          </a:p>
        </p:txBody>
      </p:sp>
      <p:sp>
        <p:nvSpPr>
          <p:cNvPr id="12" name="Прямоугольник 2">
            <a:extLst>
              <a:ext uri="{FF2B5EF4-FFF2-40B4-BE49-F238E27FC236}">
                <a16:creationId xmlns:a16="http://schemas.microsoft.com/office/drawing/2014/main" id="{533EB170-9DE8-4585-9A14-C7FEC6A980F6}"/>
              </a:ext>
            </a:extLst>
          </p:cNvPr>
          <p:cNvSpPr/>
          <p:nvPr/>
        </p:nvSpPr>
        <p:spPr>
          <a:xfrm>
            <a:off x="150936" y="2954279"/>
            <a:ext cx="4502878" cy="425501"/>
          </a:xfrm>
          <a:custGeom>
            <a:avLst/>
            <a:gdLst>
              <a:gd name="connsiteX0" fmla="*/ 0 w 3910511"/>
              <a:gd name="connsiteY0" fmla="*/ 0 h 2303451"/>
              <a:gd name="connsiteX1" fmla="*/ 3910511 w 3910511"/>
              <a:gd name="connsiteY1" fmla="*/ 0 h 2303451"/>
              <a:gd name="connsiteX2" fmla="*/ 3910511 w 3910511"/>
              <a:gd name="connsiteY2" fmla="*/ 2303451 h 2303451"/>
              <a:gd name="connsiteX3" fmla="*/ 0 w 3910511"/>
              <a:gd name="connsiteY3" fmla="*/ 2303451 h 2303451"/>
              <a:gd name="connsiteX4" fmla="*/ 0 w 3910511"/>
              <a:gd name="connsiteY4" fmla="*/ 0 h 2303451"/>
              <a:gd name="connsiteX0" fmla="*/ 2205872 w 6116383"/>
              <a:gd name="connsiteY0" fmla="*/ 0 h 2303451"/>
              <a:gd name="connsiteX1" fmla="*/ 6116383 w 6116383"/>
              <a:gd name="connsiteY1" fmla="*/ 0 h 2303451"/>
              <a:gd name="connsiteX2" fmla="*/ 6116383 w 6116383"/>
              <a:gd name="connsiteY2" fmla="*/ 2303451 h 2303451"/>
              <a:gd name="connsiteX3" fmla="*/ 0 w 6116383"/>
              <a:gd name="connsiteY3" fmla="*/ 1634148 h 2303451"/>
              <a:gd name="connsiteX4" fmla="*/ 2205872 w 6116383"/>
              <a:gd name="connsiteY4" fmla="*/ 0 h 2303451"/>
              <a:gd name="connsiteX0" fmla="*/ 2205872 w 6116383"/>
              <a:gd name="connsiteY0" fmla="*/ 0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205872 w 6116383"/>
              <a:gd name="connsiteY4" fmla="*/ 0 h 1690708"/>
              <a:gd name="connsiteX0" fmla="*/ 2894028 w 6116383"/>
              <a:gd name="connsiteY0" fmla="*/ 235671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235671 h 1690708"/>
              <a:gd name="connsiteX0" fmla="*/ 2894028 w 6116383"/>
              <a:gd name="connsiteY0" fmla="*/ 37708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37708 h 1690708"/>
              <a:gd name="connsiteX0" fmla="*/ 2894028 w 6116383"/>
              <a:gd name="connsiteY0" fmla="*/ 37708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37708 h 1690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16383" h="1690708">
                <a:moveTo>
                  <a:pt x="2894028" y="37708"/>
                </a:moveTo>
                <a:lnTo>
                  <a:pt x="6116383" y="0"/>
                </a:lnTo>
                <a:lnTo>
                  <a:pt x="6031541" y="1690708"/>
                </a:lnTo>
                <a:lnTo>
                  <a:pt x="0" y="1634148"/>
                </a:lnTo>
                <a:cubicBezTo>
                  <a:pt x="964676" y="1102001"/>
                  <a:pt x="175966" y="805525"/>
                  <a:pt x="2894028" y="37708"/>
                </a:cubicBezTo>
                <a:close/>
              </a:path>
            </a:pathLst>
          </a:cu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000" b="1" dirty="0">
                <a:solidFill>
                  <a:srgbClr val="1AE33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,4-Д 2-этилгексиловый эфир </a:t>
            </a:r>
          </a:p>
        </p:txBody>
      </p:sp>
      <p:sp>
        <p:nvSpPr>
          <p:cNvPr id="13" name="Прямоугольник 2">
            <a:extLst>
              <a:ext uri="{FF2B5EF4-FFF2-40B4-BE49-F238E27FC236}">
                <a16:creationId xmlns:a16="http://schemas.microsoft.com/office/drawing/2014/main" id="{3612D75C-2FA2-4E6E-A92F-F5B1FC074266}"/>
              </a:ext>
            </a:extLst>
          </p:cNvPr>
          <p:cNvSpPr/>
          <p:nvPr/>
        </p:nvSpPr>
        <p:spPr>
          <a:xfrm>
            <a:off x="150936" y="3341345"/>
            <a:ext cx="5011925" cy="1564339"/>
          </a:xfrm>
          <a:custGeom>
            <a:avLst/>
            <a:gdLst>
              <a:gd name="connsiteX0" fmla="*/ 0 w 3910511"/>
              <a:gd name="connsiteY0" fmla="*/ 0 h 2303451"/>
              <a:gd name="connsiteX1" fmla="*/ 3910511 w 3910511"/>
              <a:gd name="connsiteY1" fmla="*/ 0 h 2303451"/>
              <a:gd name="connsiteX2" fmla="*/ 3910511 w 3910511"/>
              <a:gd name="connsiteY2" fmla="*/ 2303451 h 2303451"/>
              <a:gd name="connsiteX3" fmla="*/ 0 w 3910511"/>
              <a:gd name="connsiteY3" fmla="*/ 2303451 h 2303451"/>
              <a:gd name="connsiteX4" fmla="*/ 0 w 3910511"/>
              <a:gd name="connsiteY4" fmla="*/ 0 h 2303451"/>
              <a:gd name="connsiteX0" fmla="*/ 2205872 w 6116383"/>
              <a:gd name="connsiteY0" fmla="*/ 0 h 2303451"/>
              <a:gd name="connsiteX1" fmla="*/ 6116383 w 6116383"/>
              <a:gd name="connsiteY1" fmla="*/ 0 h 2303451"/>
              <a:gd name="connsiteX2" fmla="*/ 6116383 w 6116383"/>
              <a:gd name="connsiteY2" fmla="*/ 2303451 h 2303451"/>
              <a:gd name="connsiteX3" fmla="*/ 0 w 6116383"/>
              <a:gd name="connsiteY3" fmla="*/ 1634148 h 2303451"/>
              <a:gd name="connsiteX4" fmla="*/ 2205872 w 6116383"/>
              <a:gd name="connsiteY4" fmla="*/ 0 h 2303451"/>
              <a:gd name="connsiteX0" fmla="*/ 2205872 w 6116383"/>
              <a:gd name="connsiteY0" fmla="*/ 0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205872 w 6116383"/>
              <a:gd name="connsiteY4" fmla="*/ 0 h 1690708"/>
              <a:gd name="connsiteX0" fmla="*/ 2894028 w 6116383"/>
              <a:gd name="connsiteY0" fmla="*/ 235671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235671 h 1690708"/>
              <a:gd name="connsiteX0" fmla="*/ 2894028 w 6116383"/>
              <a:gd name="connsiteY0" fmla="*/ 37708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37708 h 1690708"/>
              <a:gd name="connsiteX0" fmla="*/ 2894028 w 6116383"/>
              <a:gd name="connsiteY0" fmla="*/ 37708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37708 h 1690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16383" h="1690708">
                <a:moveTo>
                  <a:pt x="2894028" y="37708"/>
                </a:moveTo>
                <a:lnTo>
                  <a:pt x="6116383" y="0"/>
                </a:lnTo>
                <a:lnTo>
                  <a:pt x="6031541" y="1690708"/>
                </a:lnTo>
                <a:lnTo>
                  <a:pt x="0" y="1634148"/>
                </a:lnTo>
                <a:cubicBezTo>
                  <a:pt x="964676" y="1102001"/>
                  <a:pt x="175966" y="805525"/>
                  <a:pt x="2894028" y="37708"/>
                </a:cubicBezTo>
                <a:close/>
              </a:path>
            </a:pathLst>
          </a:cu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4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Быстро и легко проникает в растительную ткань сорняка, вызывая нарушение роста, выражающееся в неконтролируемом делении клеток растительной ткани, неестественном их удлинении, и, как следствие, скручивании и утолщении стеблей и листьев. В результате растение теряет состояние тургора, увядает и погибает.</a:t>
            </a:r>
            <a:endParaRPr lang="ru-RU" sz="1400" i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EA785DAD-780E-4977-B7ED-74B8D27FD4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2724" y="5221803"/>
            <a:ext cx="1490997" cy="1118248"/>
          </a:xfrm>
          <a:prstGeom prst="rect">
            <a:avLst/>
          </a:prstGeom>
        </p:spPr>
      </p:pic>
      <p:sp>
        <p:nvSpPr>
          <p:cNvPr id="15" name="Прямоугольник 2">
            <a:extLst>
              <a:ext uri="{FF2B5EF4-FFF2-40B4-BE49-F238E27FC236}">
                <a16:creationId xmlns:a16="http://schemas.microsoft.com/office/drawing/2014/main" id="{20772189-05A6-4005-970F-DE0985EE6866}"/>
              </a:ext>
            </a:extLst>
          </p:cNvPr>
          <p:cNvSpPr/>
          <p:nvPr/>
        </p:nvSpPr>
        <p:spPr>
          <a:xfrm>
            <a:off x="1982763" y="4880095"/>
            <a:ext cx="4502878" cy="425501"/>
          </a:xfrm>
          <a:custGeom>
            <a:avLst/>
            <a:gdLst>
              <a:gd name="connsiteX0" fmla="*/ 0 w 3910511"/>
              <a:gd name="connsiteY0" fmla="*/ 0 h 2303451"/>
              <a:gd name="connsiteX1" fmla="*/ 3910511 w 3910511"/>
              <a:gd name="connsiteY1" fmla="*/ 0 h 2303451"/>
              <a:gd name="connsiteX2" fmla="*/ 3910511 w 3910511"/>
              <a:gd name="connsiteY2" fmla="*/ 2303451 h 2303451"/>
              <a:gd name="connsiteX3" fmla="*/ 0 w 3910511"/>
              <a:gd name="connsiteY3" fmla="*/ 2303451 h 2303451"/>
              <a:gd name="connsiteX4" fmla="*/ 0 w 3910511"/>
              <a:gd name="connsiteY4" fmla="*/ 0 h 2303451"/>
              <a:gd name="connsiteX0" fmla="*/ 2205872 w 6116383"/>
              <a:gd name="connsiteY0" fmla="*/ 0 h 2303451"/>
              <a:gd name="connsiteX1" fmla="*/ 6116383 w 6116383"/>
              <a:gd name="connsiteY1" fmla="*/ 0 h 2303451"/>
              <a:gd name="connsiteX2" fmla="*/ 6116383 w 6116383"/>
              <a:gd name="connsiteY2" fmla="*/ 2303451 h 2303451"/>
              <a:gd name="connsiteX3" fmla="*/ 0 w 6116383"/>
              <a:gd name="connsiteY3" fmla="*/ 1634148 h 2303451"/>
              <a:gd name="connsiteX4" fmla="*/ 2205872 w 6116383"/>
              <a:gd name="connsiteY4" fmla="*/ 0 h 2303451"/>
              <a:gd name="connsiteX0" fmla="*/ 2205872 w 6116383"/>
              <a:gd name="connsiteY0" fmla="*/ 0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205872 w 6116383"/>
              <a:gd name="connsiteY4" fmla="*/ 0 h 1690708"/>
              <a:gd name="connsiteX0" fmla="*/ 2894028 w 6116383"/>
              <a:gd name="connsiteY0" fmla="*/ 235671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235671 h 1690708"/>
              <a:gd name="connsiteX0" fmla="*/ 2894028 w 6116383"/>
              <a:gd name="connsiteY0" fmla="*/ 37708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37708 h 1690708"/>
              <a:gd name="connsiteX0" fmla="*/ 2894028 w 6116383"/>
              <a:gd name="connsiteY0" fmla="*/ 37708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37708 h 1690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16383" h="1690708">
                <a:moveTo>
                  <a:pt x="2894028" y="37708"/>
                </a:moveTo>
                <a:lnTo>
                  <a:pt x="6116383" y="0"/>
                </a:lnTo>
                <a:lnTo>
                  <a:pt x="6031541" y="1690708"/>
                </a:lnTo>
                <a:lnTo>
                  <a:pt x="0" y="1634148"/>
                </a:lnTo>
                <a:cubicBezTo>
                  <a:pt x="964676" y="1102001"/>
                  <a:pt x="175966" y="805525"/>
                  <a:pt x="2894028" y="37708"/>
                </a:cubicBezTo>
                <a:close/>
              </a:path>
            </a:pathLst>
          </a:cu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2000" b="1" dirty="0">
                <a:solidFill>
                  <a:srgbClr val="1AE33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фенпир-диэтил (антидот) </a:t>
            </a:r>
          </a:p>
        </p:txBody>
      </p:sp>
      <p:sp>
        <p:nvSpPr>
          <p:cNvPr id="16" name="Прямоугольник 2">
            <a:extLst>
              <a:ext uri="{FF2B5EF4-FFF2-40B4-BE49-F238E27FC236}">
                <a16:creationId xmlns:a16="http://schemas.microsoft.com/office/drawing/2014/main" id="{D21B390A-A3BA-4277-B6B5-4475019C9351}"/>
              </a:ext>
            </a:extLst>
          </p:cNvPr>
          <p:cNvSpPr/>
          <p:nvPr/>
        </p:nvSpPr>
        <p:spPr>
          <a:xfrm>
            <a:off x="1879068" y="5292750"/>
            <a:ext cx="3861856" cy="1316579"/>
          </a:xfrm>
          <a:custGeom>
            <a:avLst/>
            <a:gdLst>
              <a:gd name="connsiteX0" fmla="*/ 0 w 3910511"/>
              <a:gd name="connsiteY0" fmla="*/ 0 h 2303451"/>
              <a:gd name="connsiteX1" fmla="*/ 3910511 w 3910511"/>
              <a:gd name="connsiteY1" fmla="*/ 0 h 2303451"/>
              <a:gd name="connsiteX2" fmla="*/ 3910511 w 3910511"/>
              <a:gd name="connsiteY2" fmla="*/ 2303451 h 2303451"/>
              <a:gd name="connsiteX3" fmla="*/ 0 w 3910511"/>
              <a:gd name="connsiteY3" fmla="*/ 2303451 h 2303451"/>
              <a:gd name="connsiteX4" fmla="*/ 0 w 3910511"/>
              <a:gd name="connsiteY4" fmla="*/ 0 h 2303451"/>
              <a:gd name="connsiteX0" fmla="*/ 2205872 w 6116383"/>
              <a:gd name="connsiteY0" fmla="*/ 0 h 2303451"/>
              <a:gd name="connsiteX1" fmla="*/ 6116383 w 6116383"/>
              <a:gd name="connsiteY1" fmla="*/ 0 h 2303451"/>
              <a:gd name="connsiteX2" fmla="*/ 6116383 w 6116383"/>
              <a:gd name="connsiteY2" fmla="*/ 2303451 h 2303451"/>
              <a:gd name="connsiteX3" fmla="*/ 0 w 6116383"/>
              <a:gd name="connsiteY3" fmla="*/ 1634148 h 2303451"/>
              <a:gd name="connsiteX4" fmla="*/ 2205872 w 6116383"/>
              <a:gd name="connsiteY4" fmla="*/ 0 h 2303451"/>
              <a:gd name="connsiteX0" fmla="*/ 2205872 w 6116383"/>
              <a:gd name="connsiteY0" fmla="*/ 0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205872 w 6116383"/>
              <a:gd name="connsiteY4" fmla="*/ 0 h 1690708"/>
              <a:gd name="connsiteX0" fmla="*/ 2894028 w 6116383"/>
              <a:gd name="connsiteY0" fmla="*/ 235671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235671 h 1690708"/>
              <a:gd name="connsiteX0" fmla="*/ 2894028 w 6116383"/>
              <a:gd name="connsiteY0" fmla="*/ 37708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37708 h 1690708"/>
              <a:gd name="connsiteX0" fmla="*/ 2894028 w 6116383"/>
              <a:gd name="connsiteY0" fmla="*/ 37708 h 1690708"/>
              <a:gd name="connsiteX1" fmla="*/ 6116383 w 6116383"/>
              <a:gd name="connsiteY1" fmla="*/ 0 h 1690708"/>
              <a:gd name="connsiteX2" fmla="*/ 6031541 w 6116383"/>
              <a:gd name="connsiteY2" fmla="*/ 1690708 h 1690708"/>
              <a:gd name="connsiteX3" fmla="*/ 0 w 6116383"/>
              <a:gd name="connsiteY3" fmla="*/ 1634148 h 1690708"/>
              <a:gd name="connsiteX4" fmla="*/ 2894028 w 6116383"/>
              <a:gd name="connsiteY4" fmla="*/ 37708 h 1690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16383" h="1690708">
                <a:moveTo>
                  <a:pt x="2894028" y="37708"/>
                </a:moveTo>
                <a:lnTo>
                  <a:pt x="6116383" y="0"/>
                </a:lnTo>
                <a:lnTo>
                  <a:pt x="6031541" y="1690708"/>
                </a:lnTo>
                <a:lnTo>
                  <a:pt x="0" y="1634148"/>
                </a:lnTo>
                <a:cubicBezTo>
                  <a:pt x="964676" y="1102001"/>
                  <a:pt x="175966" y="805525"/>
                  <a:pt x="2894028" y="37708"/>
                </a:cubicBezTo>
                <a:close/>
              </a:path>
            </a:pathLst>
          </a:cu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скоряет метаболизм действующих веществ в культурном растении, что делает данный препарат абсолютно безопасным для обрабатываемой культуры. В тканях сорных растений антидот неактивен.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0BBF1249-2FD4-47BE-8AC8-D70725243C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78674" y="3211513"/>
            <a:ext cx="1324500" cy="99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7789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EAF9FE2A-9E26-4223-BE44-B6AE8273B140}"/>
              </a:ext>
            </a:extLst>
          </p:cNvPr>
          <p:cNvSpPr/>
          <p:nvPr/>
        </p:nvSpPr>
        <p:spPr bwMode="gray">
          <a:xfrm>
            <a:off x="6105525" y="2969780"/>
            <a:ext cx="5565883" cy="3052418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4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4">
                  <a:lumMod val="60000"/>
                  <a:lumOff val="40000"/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threePt" dir="t"/>
            </a:scene3d>
            <a:sp3d extrusionH="57150">
              <a:bevelT w="50800" h="38100" prst="riblet"/>
            </a:sp3d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2">
            <a:extLst>
              <a:ext uri="{FF2B5EF4-FFF2-40B4-BE49-F238E27FC236}">
                <a16:creationId xmlns:a16="http://schemas.microsoft.com/office/drawing/2014/main" id="{7B293C8B-2A66-AD4E-A832-0EF22136B9AF}"/>
              </a:ext>
            </a:extLst>
          </p:cNvPr>
          <p:cNvSpPr txBox="1">
            <a:spLocks/>
          </p:cNvSpPr>
          <p:nvPr/>
        </p:nvSpPr>
        <p:spPr bwMode="blackGray">
          <a:xfrm>
            <a:off x="2661992" y="1646023"/>
            <a:ext cx="949204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Масляная дисперсия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grpSp>
        <p:nvGrpSpPr>
          <p:cNvPr id="7" name="Gruppieren 87">
            <a:extLst>
              <a:ext uri="{FF2B5EF4-FFF2-40B4-BE49-F238E27FC236}">
                <a16:creationId xmlns:a16="http://schemas.microsoft.com/office/drawing/2014/main" id="{B51F946D-2676-6749-94E0-886B3C86BB71}"/>
              </a:ext>
            </a:extLst>
          </p:cNvPr>
          <p:cNvGrpSpPr/>
          <p:nvPr/>
        </p:nvGrpSpPr>
        <p:grpSpPr>
          <a:xfrm>
            <a:off x="394357" y="2020792"/>
            <a:ext cx="1973504" cy="389173"/>
            <a:chOff x="-4484" y="3050368"/>
            <a:chExt cx="1806272" cy="356195"/>
          </a:xfrm>
        </p:grpSpPr>
        <p:cxnSp>
          <p:nvCxnSpPr>
            <p:cNvPr id="8" name="Gerade Verbindung 125">
              <a:extLst>
                <a:ext uri="{FF2B5EF4-FFF2-40B4-BE49-F238E27FC236}">
                  <a16:creationId xmlns:a16="http://schemas.microsoft.com/office/drawing/2014/main" id="{04669E7B-419A-5644-AED5-1C49C2DDBFBF}"/>
                </a:ext>
              </a:extLst>
            </p:cNvPr>
            <p:cNvCxnSpPr/>
            <p:nvPr/>
          </p:nvCxnSpPr>
          <p:spPr bwMode="gray">
            <a:xfrm rot="900000" flipV="1">
              <a:off x="358032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26">
              <a:extLst>
                <a:ext uri="{FF2B5EF4-FFF2-40B4-BE49-F238E27FC236}">
                  <a16:creationId xmlns:a16="http://schemas.microsoft.com/office/drawing/2014/main" id="{6AA70219-1256-A24C-A755-66AC98D09869}"/>
                </a:ext>
              </a:extLst>
            </p:cNvPr>
            <p:cNvCxnSpPr/>
            <p:nvPr/>
          </p:nvCxnSpPr>
          <p:spPr bwMode="gray">
            <a:xfrm rot="900000" flipV="1">
              <a:off x="430221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27">
              <a:extLst>
                <a:ext uri="{FF2B5EF4-FFF2-40B4-BE49-F238E27FC236}">
                  <a16:creationId xmlns:a16="http://schemas.microsoft.com/office/drawing/2014/main" id="{B24C70F2-B9A0-6C45-951A-E828409C682F}"/>
                </a:ext>
              </a:extLst>
            </p:cNvPr>
            <p:cNvCxnSpPr/>
            <p:nvPr/>
          </p:nvCxnSpPr>
          <p:spPr bwMode="gray">
            <a:xfrm rot="900000" flipV="1">
              <a:off x="502407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28">
              <a:extLst>
                <a:ext uri="{FF2B5EF4-FFF2-40B4-BE49-F238E27FC236}">
                  <a16:creationId xmlns:a16="http://schemas.microsoft.com/office/drawing/2014/main" id="{7ABF2CAD-95E2-8749-9AD5-E738E984C587}"/>
                </a:ext>
              </a:extLst>
            </p:cNvPr>
            <p:cNvCxnSpPr/>
            <p:nvPr/>
          </p:nvCxnSpPr>
          <p:spPr bwMode="gray">
            <a:xfrm rot="900000" flipV="1">
              <a:off x="574596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29">
              <a:extLst>
                <a:ext uri="{FF2B5EF4-FFF2-40B4-BE49-F238E27FC236}">
                  <a16:creationId xmlns:a16="http://schemas.microsoft.com/office/drawing/2014/main" id="{E702240E-FAC2-9941-AAA2-9DB4DF8F49B1}"/>
                </a:ext>
              </a:extLst>
            </p:cNvPr>
            <p:cNvCxnSpPr/>
            <p:nvPr/>
          </p:nvCxnSpPr>
          <p:spPr bwMode="gray">
            <a:xfrm rot="900000" flipV="1">
              <a:off x="646783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30">
              <a:extLst>
                <a:ext uri="{FF2B5EF4-FFF2-40B4-BE49-F238E27FC236}">
                  <a16:creationId xmlns:a16="http://schemas.microsoft.com/office/drawing/2014/main" id="{764E0093-A2F1-7D40-AF63-1F8B115E34DD}"/>
                </a:ext>
              </a:extLst>
            </p:cNvPr>
            <p:cNvCxnSpPr/>
            <p:nvPr/>
          </p:nvCxnSpPr>
          <p:spPr bwMode="gray">
            <a:xfrm rot="900000" flipV="1">
              <a:off x="718971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1">
              <a:extLst>
                <a:ext uri="{FF2B5EF4-FFF2-40B4-BE49-F238E27FC236}">
                  <a16:creationId xmlns:a16="http://schemas.microsoft.com/office/drawing/2014/main" id="{D91E9BA9-D9E9-6A4C-85E8-6DE4FC8BA370}"/>
                </a:ext>
              </a:extLst>
            </p:cNvPr>
            <p:cNvCxnSpPr/>
            <p:nvPr/>
          </p:nvCxnSpPr>
          <p:spPr bwMode="gray">
            <a:xfrm rot="900000" flipV="1">
              <a:off x="791159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32">
              <a:extLst>
                <a:ext uri="{FF2B5EF4-FFF2-40B4-BE49-F238E27FC236}">
                  <a16:creationId xmlns:a16="http://schemas.microsoft.com/office/drawing/2014/main" id="{34564AF4-A22F-B347-945F-05E8D99F57F0}"/>
                </a:ext>
              </a:extLst>
            </p:cNvPr>
            <p:cNvCxnSpPr/>
            <p:nvPr/>
          </p:nvCxnSpPr>
          <p:spPr bwMode="gray">
            <a:xfrm rot="900000" flipV="1">
              <a:off x="863347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33">
              <a:extLst>
                <a:ext uri="{FF2B5EF4-FFF2-40B4-BE49-F238E27FC236}">
                  <a16:creationId xmlns:a16="http://schemas.microsoft.com/office/drawing/2014/main" id="{22D2BA54-F739-C54E-BBB2-B9B3F6D45A4C}"/>
                </a:ext>
              </a:extLst>
            </p:cNvPr>
            <p:cNvCxnSpPr/>
            <p:nvPr/>
          </p:nvCxnSpPr>
          <p:spPr bwMode="gray">
            <a:xfrm rot="900000" flipV="1">
              <a:off x="935534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34">
              <a:extLst>
                <a:ext uri="{FF2B5EF4-FFF2-40B4-BE49-F238E27FC236}">
                  <a16:creationId xmlns:a16="http://schemas.microsoft.com/office/drawing/2014/main" id="{5AFEE169-716B-AE45-B6C9-0D222B9CF320}"/>
                </a:ext>
              </a:extLst>
            </p:cNvPr>
            <p:cNvCxnSpPr/>
            <p:nvPr/>
          </p:nvCxnSpPr>
          <p:spPr bwMode="gray">
            <a:xfrm rot="900000" flipV="1">
              <a:off x="1007723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35">
              <a:extLst>
                <a:ext uri="{FF2B5EF4-FFF2-40B4-BE49-F238E27FC236}">
                  <a16:creationId xmlns:a16="http://schemas.microsoft.com/office/drawing/2014/main" id="{7DF3915E-E2F4-4545-AAE7-EF2DC29FB5DF}"/>
                </a:ext>
              </a:extLst>
            </p:cNvPr>
            <p:cNvCxnSpPr/>
            <p:nvPr/>
          </p:nvCxnSpPr>
          <p:spPr bwMode="gray">
            <a:xfrm rot="900000" flipV="1">
              <a:off x="1079909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6">
              <a:extLst>
                <a:ext uri="{FF2B5EF4-FFF2-40B4-BE49-F238E27FC236}">
                  <a16:creationId xmlns:a16="http://schemas.microsoft.com/office/drawing/2014/main" id="{D7187716-1924-0940-A220-CA6A95F8FBBD}"/>
                </a:ext>
              </a:extLst>
            </p:cNvPr>
            <p:cNvCxnSpPr/>
            <p:nvPr/>
          </p:nvCxnSpPr>
          <p:spPr bwMode="gray">
            <a:xfrm rot="900000" flipV="1">
              <a:off x="1152097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37">
              <a:extLst>
                <a:ext uri="{FF2B5EF4-FFF2-40B4-BE49-F238E27FC236}">
                  <a16:creationId xmlns:a16="http://schemas.microsoft.com/office/drawing/2014/main" id="{D03C56D9-86A7-7C4A-8462-7C8E5320061A}"/>
                </a:ext>
              </a:extLst>
            </p:cNvPr>
            <p:cNvCxnSpPr/>
            <p:nvPr/>
          </p:nvCxnSpPr>
          <p:spPr bwMode="gray">
            <a:xfrm rot="900000" flipV="1">
              <a:off x="1224286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38">
              <a:extLst>
                <a:ext uri="{FF2B5EF4-FFF2-40B4-BE49-F238E27FC236}">
                  <a16:creationId xmlns:a16="http://schemas.microsoft.com/office/drawing/2014/main" id="{A900584B-AEC2-1C43-B3EB-9434D26A0443}"/>
                </a:ext>
              </a:extLst>
            </p:cNvPr>
            <p:cNvCxnSpPr/>
            <p:nvPr/>
          </p:nvCxnSpPr>
          <p:spPr bwMode="gray">
            <a:xfrm rot="900000" flipV="1">
              <a:off x="1296472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13">
              <a:extLst>
                <a:ext uri="{FF2B5EF4-FFF2-40B4-BE49-F238E27FC236}">
                  <a16:creationId xmlns:a16="http://schemas.microsoft.com/office/drawing/2014/main" id="{25614DF8-4087-3341-8C8D-0E21D3DC399B}"/>
                </a:ext>
              </a:extLst>
            </p:cNvPr>
            <p:cNvCxnSpPr/>
            <p:nvPr/>
          </p:nvCxnSpPr>
          <p:spPr bwMode="gray">
            <a:xfrm rot="900000" flipV="1">
              <a:off x="1368661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14">
              <a:extLst>
                <a:ext uri="{FF2B5EF4-FFF2-40B4-BE49-F238E27FC236}">
                  <a16:creationId xmlns:a16="http://schemas.microsoft.com/office/drawing/2014/main" id="{33754375-3F6A-D349-9FBE-A164BACFB8D6}"/>
                </a:ext>
              </a:extLst>
            </p:cNvPr>
            <p:cNvCxnSpPr/>
            <p:nvPr/>
          </p:nvCxnSpPr>
          <p:spPr bwMode="gray">
            <a:xfrm rot="900000" flipV="1">
              <a:off x="1440849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15">
              <a:extLst>
                <a:ext uri="{FF2B5EF4-FFF2-40B4-BE49-F238E27FC236}">
                  <a16:creationId xmlns:a16="http://schemas.microsoft.com/office/drawing/2014/main" id="{0976288C-16F4-D14A-AD1A-B6C9E86FCABC}"/>
                </a:ext>
              </a:extLst>
            </p:cNvPr>
            <p:cNvCxnSpPr/>
            <p:nvPr/>
          </p:nvCxnSpPr>
          <p:spPr bwMode="gray">
            <a:xfrm rot="900000" flipV="1">
              <a:off x="1513036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16">
              <a:extLst>
                <a:ext uri="{FF2B5EF4-FFF2-40B4-BE49-F238E27FC236}">
                  <a16:creationId xmlns:a16="http://schemas.microsoft.com/office/drawing/2014/main" id="{33AD4EDB-F6CC-1C41-8C70-23CAE61834E5}"/>
                </a:ext>
              </a:extLst>
            </p:cNvPr>
            <p:cNvCxnSpPr/>
            <p:nvPr/>
          </p:nvCxnSpPr>
          <p:spPr bwMode="gray">
            <a:xfrm rot="900000" flipV="1">
              <a:off x="1585224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17">
              <a:extLst>
                <a:ext uri="{FF2B5EF4-FFF2-40B4-BE49-F238E27FC236}">
                  <a16:creationId xmlns:a16="http://schemas.microsoft.com/office/drawing/2014/main" id="{357F72D9-75F6-7C44-B51B-362DEEF2B4F6}"/>
                </a:ext>
              </a:extLst>
            </p:cNvPr>
            <p:cNvCxnSpPr/>
            <p:nvPr/>
          </p:nvCxnSpPr>
          <p:spPr bwMode="gray">
            <a:xfrm rot="900000" flipV="1">
              <a:off x="1657413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18">
              <a:extLst>
                <a:ext uri="{FF2B5EF4-FFF2-40B4-BE49-F238E27FC236}">
                  <a16:creationId xmlns:a16="http://schemas.microsoft.com/office/drawing/2014/main" id="{6100F6C9-4F4D-F24C-A074-F6C10C716182}"/>
                </a:ext>
              </a:extLst>
            </p:cNvPr>
            <p:cNvCxnSpPr/>
            <p:nvPr/>
          </p:nvCxnSpPr>
          <p:spPr bwMode="gray">
            <a:xfrm rot="900000" flipV="1">
              <a:off x="1729599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119">
              <a:extLst>
                <a:ext uri="{FF2B5EF4-FFF2-40B4-BE49-F238E27FC236}">
                  <a16:creationId xmlns:a16="http://schemas.microsoft.com/office/drawing/2014/main" id="{4F1F26CE-EFAA-2742-A76C-C35969AD35E0}"/>
                </a:ext>
              </a:extLst>
            </p:cNvPr>
            <p:cNvCxnSpPr/>
            <p:nvPr/>
          </p:nvCxnSpPr>
          <p:spPr bwMode="gray">
            <a:xfrm rot="900000" flipV="1">
              <a:off x="1801788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115">
              <a:extLst>
                <a:ext uri="{FF2B5EF4-FFF2-40B4-BE49-F238E27FC236}">
                  <a16:creationId xmlns:a16="http://schemas.microsoft.com/office/drawing/2014/main" id="{E7A20880-1910-9E45-B42C-6C57C159F0F7}"/>
                </a:ext>
              </a:extLst>
            </p:cNvPr>
            <p:cNvCxnSpPr/>
            <p:nvPr/>
          </p:nvCxnSpPr>
          <p:spPr bwMode="gray">
            <a:xfrm rot="900000" flipV="1">
              <a:off x="-4484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116">
              <a:extLst>
                <a:ext uri="{FF2B5EF4-FFF2-40B4-BE49-F238E27FC236}">
                  <a16:creationId xmlns:a16="http://schemas.microsoft.com/office/drawing/2014/main" id="{F5FBC7D9-7BEF-E84E-BA91-982FA96EFCFE}"/>
                </a:ext>
              </a:extLst>
            </p:cNvPr>
            <p:cNvCxnSpPr/>
            <p:nvPr/>
          </p:nvCxnSpPr>
          <p:spPr bwMode="gray">
            <a:xfrm rot="900000" flipV="1">
              <a:off x="67704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117">
              <a:extLst>
                <a:ext uri="{FF2B5EF4-FFF2-40B4-BE49-F238E27FC236}">
                  <a16:creationId xmlns:a16="http://schemas.microsoft.com/office/drawing/2014/main" id="{C2FF7FA1-B39E-1C4F-8720-156800B4D26E}"/>
                </a:ext>
              </a:extLst>
            </p:cNvPr>
            <p:cNvCxnSpPr/>
            <p:nvPr/>
          </p:nvCxnSpPr>
          <p:spPr bwMode="gray">
            <a:xfrm rot="900000" flipV="1">
              <a:off x="139893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118">
              <a:extLst>
                <a:ext uri="{FF2B5EF4-FFF2-40B4-BE49-F238E27FC236}">
                  <a16:creationId xmlns:a16="http://schemas.microsoft.com/office/drawing/2014/main" id="{C5593C4E-616D-1C4B-A6B0-3AE7C268A579}"/>
                </a:ext>
              </a:extLst>
            </p:cNvPr>
            <p:cNvCxnSpPr/>
            <p:nvPr/>
          </p:nvCxnSpPr>
          <p:spPr bwMode="gray">
            <a:xfrm rot="900000" flipV="1">
              <a:off x="212079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119">
              <a:extLst>
                <a:ext uri="{FF2B5EF4-FFF2-40B4-BE49-F238E27FC236}">
                  <a16:creationId xmlns:a16="http://schemas.microsoft.com/office/drawing/2014/main" id="{E7A6AE78-13F9-C847-9629-F4A7B8ACF73F}"/>
                </a:ext>
              </a:extLst>
            </p:cNvPr>
            <p:cNvCxnSpPr/>
            <p:nvPr/>
          </p:nvCxnSpPr>
          <p:spPr bwMode="gray">
            <a:xfrm rot="900000" flipV="1">
              <a:off x="284268" y="3050368"/>
              <a:ext cx="0" cy="356195"/>
            </a:xfrm>
            <a:prstGeom prst="line">
              <a:avLst/>
            </a:prstGeom>
            <a:ln w="12700">
              <a:solidFill>
                <a:srgbClr val="0044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4" name="Picture 5">
            <a:extLst>
              <a:ext uri="{FF2B5EF4-FFF2-40B4-BE49-F238E27FC236}">
                <a16:creationId xmlns:a16="http://schemas.microsoft.com/office/drawing/2014/main" id="{5511102F-2F86-413D-8D4F-D8C9FE1721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31" y="2762642"/>
            <a:ext cx="1683692" cy="1156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6">
            <a:extLst>
              <a:ext uri="{FF2B5EF4-FFF2-40B4-BE49-F238E27FC236}">
                <a16:creationId xmlns:a16="http://schemas.microsoft.com/office/drawing/2014/main" id="{5145E3AF-8E93-4EE5-BF62-973591E41F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31" y="4100545"/>
            <a:ext cx="1676400" cy="108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8">
            <a:extLst>
              <a:ext uri="{FF2B5EF4-FFF2-40B4-BE49-F238E27FC236}">
                <a16:creationId xmlns:a16="http://schemas.microsoft.com/office/drawing/2014/main" id="{30560E3A-C1A1-471D-8A94-CC1EE9A05C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31" y="5363208"/>
            <a:ext cx="1676400" cy="113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3C143646-0198-44B7-91FA-CF9F0DA55443}"/>
              </a:ext>
            </a:extLst>
          </p:cNvPr>
          <p:cNvSpPr txBox="1"/>
          <p:nvPr/>
        </p:nvSpPr>
        <p:spPr bwMode="gray">
          <a:xfrm>
            <a:off x="2454030" y="3014642"/>
            <a:ext cx="3141785" cy="8862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Снижает потери рабочего раствора из-за стекания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7E96E6B-3DDF-4C31-8B70-B4374FF87E13}"/>
              </a:ext>
            </a:extLst>
          </p:cNvPr>
          <p:cNvSpPr txBox="1"/>
          <p:nvPr/>
        </p:nvSpPr>
        <p:spPr bwMode="gray">
          <a:xfrm>
            <a:off x="2454030" y="4197970"/>
            <a:ext cx="3298093" cy="8862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Улучшает смачивание поверхности сорного растения рабочим раствором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83600C2-0FFE-4DA8-971E-C88BBD0206EA}"/>
              </a:ext>
            </a:extLst>
          </p:cNvPr>
          <p:cNvSpPr txBox="1"/>
          <p:nvPr/>
        </p:nvSpPr>
        <p:spPr bwMode="gray">
          <a:xfrm>
            <a:off x="2454029" y="5494158"/>
            <a:ext cx="3540371" cy="8862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Увеличивает проникновение действующих веществ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в растение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2DCB200-69BE-4840-86F2-69DD3151DEE7}"/>
              </a:ext>
            </a:extLst>
          </p:cNvPr>
          <p:cNvSpPr txBox="1"/>
          <p:nvPr/>
        </p:nvSpPr>
        <p:spPr bwMode="gray">
          <a:xfrm>
            <a:off x="8335525" y="3530601"/>
            <a:ext cx="3412327" cy="6688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Масляная дисперсия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ODesi®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 – запатентованная формуляция</a:t>
            </a:r>
          </a:p>
        </p:txBody>
      </p:sp>
      <p:pic>
        <p:nvPicPr>
          <p:cNvPr id="41" name="Picture 4" descr="ODesi_Logo_4c">
            <a:extLst>
              <a:ext uri="{FF2B5EF4-FFF2-40B4-BE49-F238E27FC236}">
                <a16:creationId xmlns:a16="http://schemas.microsoft.com/office/drawing/2014/main" id="{8E735C8B-E698-450C-89EC-CF60839522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8393" y="3305204"/>
            <a:ext cx="1639563" cy="967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D408E751-F20D-4C87-B43E-EF0E5A6B45AE}"/>
              </a:ext>
            </a:extLst>
          </p:cNvPr>
          <p:cNvSpPr txBox="1"/>
          <p:nvPr/>
        </p:nvSpPr>
        <p:spPr bwMode="gray">
          <a:xfrm>
            <a:off x="6508393" y="4529460"/>
            <a:ext cx="4902069" cy="14927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Уникальная запатентованная формуляция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ODesi®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 (масляная дисперсия) – это система активных адъювантов, способных обеспечить максимальное прилипание гербицида и проникновение его действующих веществ в листья и стебли сорных растений (в том числе защищенных опушением и восковым налетом)</a:t>
            </a:r>
          </a:p>
        </p:txBody>
      </p:sp>
    </p:spTree>
    <p:extLst>
      <p:ext uri="{BB962C8B-B14F-4D97-AF65-F5344CB8AC3E}">
        <p14:creationId xmlns:p14="http://schemas.microsoft.com/office/powerpoint/2010/main" val="3387821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 p14:presetBounceEnd="50000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75B81D71-FFDA-420D-A180-8CE30F117C9C}"/>
              </a:ext>
            </a:extLst>
          </p:cNvPr>
          <p:cNvSpPr txBox="1">
            <a:spLocks/>
          </p:cNvSpPr>
          <p:nvPr/>
        </p:nvSpPr>
        <p:spPr bwMode="blackGray">
          <a:xfrm>
            <a:off x="2328617" y="462887"/>
            <a:ext cx="949204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Спектр активности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pic>
        <p:nvPicPr>
          <p:cNvPr id="3" name="Recycling" descr="\\NAS\INSCALE_aktuelle_Projekte\Bayer\2012_Supportanfragen_divers\120808_Bildbearbeitung\Neue Dateien\TOPIC_IMAGE_089_bunt.jpg">
            <a:extLst>
              <a:ext uri="{FF2B5EF4-FFF2-40B4-BE49-F238E27FC236}">
                <a16:creationId xmlns:a16="http://schemas.microsoft.com/office/drawing/2014/main" id="{4A7B2580-CB40-45F6-B3A6-B938F3B2CCE9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0393" y="325355"/>
            <a:ext cx="1068322" cy="1308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Схема 5">
            <a:extLst>
              <a:ext uri="{FF2B5EF4-FFF2-40B4-BE49-F238E27FC236}">
                <a16:creationId xmlns:a16="http://schemas.microsoft.com/office/drawing/2014/main" id="{210C7A6F-B274-46B0-B2F1-858C0B8D8A36}"/>
              </a:ext>
            </a:extLst>
          </p:cNvPr>
          <p:cNvGraphicFramePr/>
          <p:nvPr/>
        </p:nvGraphicFramePr>
        <p:xfrm>
          <a:off x="153921" y="1074657"/>
          <a:ext cx="11666736" cy="58008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7468803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2">
            <a:extLst>
              <a:ext uri="{FF2B5EF4-FFF2-40B4-BE49-F238E27FC236}">
                <a16:creationId xmlns:a16="http://schemas.microsoft.com/office/drawing/2014/main" id="{C98A3DC9-9F09-4567-B150-5FF1D670B469}"/>
              </a:ext>
            </a:extLst>
          </p:cNvPr>
          <p:cNvSpPr txBox="1">
            <a:spLocks/>
          </p:cNvSpPr>
          <p:nvPr/>
        </p:nvSpPr>
        <p:spPr bwMode="blackGray">
          <a:xfrm>
            <a:off x="1649887" y="587986"/>
            <a:ext cx="949204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Мушкет Плюс </a:t>
            </a:r>
            <a:r>
              <a:rPr kumimoji="0" lang="ru-RU" sz="2600" b="0" i="1" u="none" strike="noStrike" kern="120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– фаза применения</a:t>
            </a:r>
            <a:endParaRPr kumimoji="0" lang="en-US" sz="2600" b="0" i="1" u="none" strike="noStrike" kern="1200" cap="none" spc="0" normalizeH="0" baseline="0" noProof="0" dirty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D40FCB7-B4E0-4FA7-882F-7784A64EE1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359" y="2299565"/>
            <a:ext cx="6587623" cy="3752443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830A3056-B6E9-459E-9B2F-4B3A74A885E4}"/>
              </a:ext>
            </a:extLst>
          </p:cNvPr>
          <p:cNvSpPr txBox="1"/>
          <p:nvPr/>
        </p:nvSpPr>
        <p:spPr bwMode="gray">
          <a:xfrm>
            <a:off x="7389747" y="1686115"/>
            <a:ext cx="4489801" cy="23165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itchFamily="18" charset="2"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66B51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ысокая селективность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itchFamily="18" charset="2"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ля обрабатываемой культуры обеспечивается наличием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itchFamily="18" charset="2"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 препаративной форм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itchFamily="18" charset="2"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АНТИДОТА – </a:t>
            </a: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ЕФЕНПИР-ДИЭТИЛ</a:t>
            </a:r>
          </a:p>
        </p:txBody>
      </p:sp>
      <p:pic>
        <p:nvPicPr>
          <p:cNvPr id="26" name="Рисунок 25" descr="Вырезка экрана">
            <a:extLst>
              <a:ext uri="{FF2B5EF4-FFF2-40B4-BE49-F238E27FC236}">
                <a16:creationId xmlns:a16="http://schemas.microsoft.com/office/drawing/2014/main" id="{6119D2F1-9A3E-4A6C-9F9B-56DFF5C0E8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924" y="5368131"/>
            <a:ext cx="1089377" cy="1098455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E68139BE-7B73-4B85-B049-F3F375CFD4B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0210" y="3609931"/>
            <a:ext cx="3808874" cy="285665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402842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4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2">
            <a:extLst>
              <a:ext uri="{FF2B5EF4-FFF2-40B4-BE49-F238E27FC236}">
                <a16:creationId xmlns:a16="http://schemas.microsoft.com/office/drawing/2014/main" id="{04E30295-FF00-A049-BED1-560B264E9EDE}"/>
              </a:ext>
            </a:extLst>
          </p:cNvPr>
          <p:cNvSpPr txBox="1">
            <a:spLocks/>
          </p:cNvSpPr>
          <p:nvPr/>
        </p:nvSpPr>
        <p:spPr bwMode="blackGray">
          <a:xfrm>
            <a:off x="2577303" y="1711781"/>
            <a:ext cx="9368624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Регламент применения Мушкет Плюс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Helvetica Neue Medium" panose="02000503000000020004" pitchFamily="2" charset="0"/>
              <a:ea typeface="Helvetica Neue Medium" panose="02000503000000020004" pitchFamily="2" charset="0"/>
              <a:cs typeface="Helvetica Neue Medium" panose="02000503000000020004" pitchFamily="2" charset="0"/>
            </a:endParaRPr>
          </a:p>
        </p:txBody>
      </p:sp>
      <p:grpSp>
        <p:nvGrpSpPr>
          <p:cNvPr id="6" name="Gruppieren 87">
            <a:extLst>
              <a:ext uri="{FF2B5EF4-FFF2-40B4-BE49-F238E27FC236}">
                <a16:creationId xmlns:a16="http://schemas.microsoft.com/office/drawing/2014/main" id="{C1411950-5D59-7B49-935D-63C1BE8C535F}"/>
              </a:ext>
            </a:extLst>
          </p:cNvPr>
          <p:cNvGrpSpPr/>
          <p:nvPr/>
        </p:nvGrpSpPr>
        <p:grpSpPr>
          <a:xfrm>
            <a:off x="224520" y="2172614"/>
            <a:ext cx="1973504" cy="389173"/>
            <a:chOff x="-4484" y="3050368"/>
            <a:chExt cx="1806272" cy="356195"/>
          </a:xfrm>
        </p:grpSpPr>
        <p:cxnSp>
          <p:nvCxnSpPr>
            <p:cNvPr id="7" name="Gerade Verbindung 125">
              <a:extLst>
                <a:ext uri="{FF2B5EF4-FFF2-40B4-BE49-F238E27FC236}">
                  <a16:creationId xmlns:a16="http://schemas.microsoft.com/office/drawing/2014/main" id="{F20134FC-ADFF-E44B-B33F-C036BB16C7E5}"/>
                </a:ext>
              </a:extLst>
            </p:cNvPr>
            <p:cNvCxnSpPr/>
            <p:nvPr/>
          </p:nvCxnSpPr>
          <p:spPr bwMode="gray">
            <a:xfrm rot="900000" flipV="1">
              <a:off x="358032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26">
              <a:extLst>
                <a:ext uri="{FF2B5EF4-FFF2-40B4-BE49-F238E27FC236}">
                  <a16:creationId xmlns:a16="http://schemas.microsoft.com/office/drawing/2014/main" id="{23FC8382-78E1-724A-B468-41283FCD927C}"/>
                </a:ext>
              </a:extLst>
            </p:cNvPr>
            <p:cNvCxnSpPr/>
            <p:nvPr/>
          </p:nvCxnSpPr>
          <p:spPr bwMode="gray">
            <a:xfrm rot="900000" flipV="1">
              <a:off x="430221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27">
              <a:extLst>
                <a:ext uri="{FF2B5EF4-FFF2-40B4-BE49-F238E27FC236}">
                  <a16:creationId xmlns:a16="http://schemas.microsoft.com/office/drawing/2014/main" id="{8FBE1FB2-A2B4-FD46-84B9-C26C42EE0BEF}"/>
                </a:ext>
              </a:extLst>
            </p:cNvPr>
            <p:cNvCxnSpPr/>
            <p:nvPr/>
          </p:nvCxnSpPr>
          <p:spPr bwMode="gray">
            <a:xfrm rot="900000" flipV="1">
              <a:off x="502407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28">
              <a:extLst>
                <a:ext uri="{FF2B5EF4-FFF2-40B4-BE49-F238E27FC236}">
                  <a16:creationId xmlns:a16="http://schemas.microsoft.com/office/drawing/2014/main" id="{E39692EF-BB41-DA47-8F0F-456ACB30600B}"/>
                </a:ext>
              </a:extLst>
            </p:cNvPr>
            <p:cNvCxnSpPr/>
            <p:nvPr/>
          </p:nvCxnSpPr>
          <p:spPr bwMode="gray">
            <a:xfrm rot="900000" flipV="1">
              <a:off x="574596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29">
              <a:extLst>
                <a:ext uri="{FF2B5EF4-FFF2-40B4-BE49-F238E27FC236}">
                  <a16:creationId xmlns:a16="http://schemas.microsoft.com/office/drawing/2014/main" id="{93B2B6A4-80BA-6547-951D-D83F9CC0EF34}"/>
                </a:ext>
              </a:extLst>
            </p:cNvPr>
            <p:cNvCxnSpPr/>
            <p:nvPr/>
          </p:nvCxnSpPr>
          <p:spPr bwMode="gray">
            <a:xfrm rot="900000" flipV="1">
              <a:off x="64678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30">
              <a:extLst>
                <a:ext uri="{FF2B5EF4-FFF2-40B4-BE49-F238E27FC236}">
                  <a16:creationId xmlns:a16="http://schemas.microsoft.com/office/drawing/2014/main" id="{66C00CFC-1F22-254B-854F-D931D6F67676}"/>
                </a:ext>
              </a:extLst>
            </p:cNvPr>
            <p:cNvCxnSpPr/>
            <p:nvPr/>
          </p:nvCxnSpPr>
          <p:spPr bwMode="gray">
            <a:xfrm rot="900000" flipV="1">
              <a:off x="718971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31">
              <a:extLst>
                <a:ext uri="{FF2B5EF4-FFF2-40B4-BE49-F238E27FC236}">
                  <a16:creationId xmlns:a16="http://schemas.microsoft.com/office/drawing/2014/main" id="{CB1022E1-3A44-8B4B-B275-9CCBC41E16CE}"/>
                </a:ext>
              </a:extLst>
            </p:cNvPr>
            <p:cNvCxnSpPr/>
            <p:nvPr/>
          </p:nvCxnSpPr>
          <p:spPr bwMode="gray">
            <a:xfrm rot="900000" flipV="1">
              <a:off x="79115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2">
              <a:extLst>
                <a:ext uri="{FF2B5EF4-FFF2-40B4-BE49-F238E27FC236}">
                  <a16:creationId xmlns:a16="http://schemas.microsoft.com/office/drawing/2014/main" id="{FD1121FB-5AAA-5445-A32D-ADA734BAC57F}"/>
                </a:ext>
              </a:extLst>
            </p:cNvPr>
            <p:cNvCxnSpPr/>
            <p:nvPr/>
          </p:nvCxnSpPr>
          <p:spPr bwMode="gray">
            <a:xfrm rot="900000" flipV="1">
              <a:off x="863347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33">
              <a:extLst>
                <a:ext uri="{FF2B5EF4-FFF2-40B4-BE49-F238E27FC236}">
                  <a16:creationId xmlns:a16="http://schemas.microsoft.com/office/drawing/2014/main" id="{1FDA1A75-EE71-CE44-ABE5-982FC600C0F5}"/>
                </a:ext>
              </a:extLst>
            </p:cNvPr>
            <p:cNvCxnSpPr/>
            <p:nvPr/>
          </p:nvCxnSpPr>
          <p:spPr bwMode="gray">
            <a:xfrm rot="900000" flipV="1">
              <a:off x="935534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34">
              <a:extLst>
                <a:ext uri="{FF2B5EF4-FFF2-40B4-BE49-F238E27FC236}">
                  <a16:creationId xmlns:a16="http://schemas.microsoft.com/office/drawing/2014/main" id="{228EC387-AE8A-7742-86C1-5FEAE1F52AFD}"/>
                </a:ext>
              </a:extLst>
            </p:cNvPr>
            <p:cNvCxnSpPr/>
            <p:nvPr/>
          </p:nvCxnSpPr>
          <p:spPr bwMode="gray">
            <a:xfrm rot="900000" flipV="1">
              <a:off x="100772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35">
              <a:extLst>
                <a:ext uri="{FF2B5EF4-FFF2-40B4-BE49-F238E27FC236}">
                  <a16:creationId xmlns:a16="http://schemas.microsoft.com/office/drawing/2014/main" id="{B99DFC82-3D51-3046-AF03-62C00CA5032A}"/>
                </a:ext>
              </a:extLst>
            </p:cNvPr>
            <p:cNvCxnSpPr/>
            <p:nvPr/>
          </p:nvCxnSpPr>
          <p:spPr bwMode="gray">
            <a:xfrm rot="900000" flipV="1">
              <a:off x="107990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36">
              <a:extLst>
                <a:ext uri="{FF2B5EF4-FFF2-40B4-BE49-F238E27FC236}">
                  <a16:creationId xmlns:a16="http://schemas.microsoft.com/office/drawing/2014/main" id="{B3455A46-4CBE-1643-A7F1-B97C86FCDFB0}"/>
                </a:ext>
              </a:extLst>
            </p:cNvPr>
            <p:cNvCxnSpPr/>
            <p:nvPr/>
          </p:nvCxnSpPr>
          <p:spPr bwMode="gray">
            <a:xfrm rot="900000" flipV="1">
              <a:off x="1152097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37">
              <a:extLst>
                <a:ext uri="{FF2B5EF4-FFF2-40B4-BE49-F238E27FC236}">
                  <a16:creationId xmlns:a16="http://schemas.microsoft.com/office/drawing/2014/main" id="{C89B96C4-973C-FD4F-AFC5-F635E36A0555}"/>
                </a:ext>
              </a:extLst>
            </p:cNvPr>
            <p:cNvCxnSpPr/>
            <p:nvPr/>
          </p:nvCxnSpPr>
          <p:spPr bwMode="gray">
            <a:xfrm rot="900000" flipV="1">
              <a:off x="1224286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38">
              <a:extLst>
                <a:ext uri="{FF2B5EF4-FFF2-40B4-BE49-F238E27FC236}">
                  <a16:creationId xmlns:a16="http://schemas.microsoft.com/office/drawing/2014/main" id="{8D67A8E0-3345-F745-AA11-98C5DDFCA035}"/>
                </a:ext>
              </a:extLst>
            </p:cNvPr>
            <p:cNvCxnSpPr/>
            <p:nvPr/>
          </p:nvCxnSpPr>
          <p:spPr bwMode="gray">
            <a:xfrm rot="900000" flipV="1">
              <a:off x="1296472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13">
              <a:extLst>
                <a:ext uri="{FF2B5EF4-FFF2-40B4-BE49-F238E27FC236}">
                  <a16:creationId xmlns:a16="http://schemas.microsoft.com/office/drawing/2014/main" id="{1C136930-7A46-D447-B462-73B7D116B5F8}"/>
                </a:ext>
              </a:extLst>
            </p:cNvPr>
            <p:cNvCxnSpPr/>
            <p:nvPr/>
          </p:nvCxnSpPr>
          <p:spPr bwMode="gray">
            <a:xfrm rot="900000" flipV="1">
              <a:off x="1368661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114">
              <a:extLst>
                <a:ext uri="{FF2B5EF4-FFF2-40B4-BE49-F238E27FC236}">
                  <a16:creationId xmlns:a16="http://schemas.microsoft.com/office/drawing/2014/main" id="{C1A3617E-2021-2F48-94C1-9B73921F6639}"/>
                </a:ext>
              </a:extLst>
            </p:cNvPr>
            <p:cNvCxnSpPr/>
            <p:nvPr/>
          </p:nvCxnSpPr>
          <p:spPr bwMode="gray">
            <a:xfrm rot="900000" flipV="1">
              <a:off x="144084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15">
              <a:extLst>
                <a:ext uri="{FF2B5EF4-FFF2-40B4-BE49-F238E27FC236}">
                  <a16:creationId xmlns:a16="http://schemas.microsoft.com/office/drawing/2014/main" id="{EBB09CEA-A4FA-D94F-BA0C-AE0A15FDA500}"/>
                </a:ext>
              </a:extLst>
            </p:cNvPr>
            <p:cNvCxnSpPr/>
            <p:nvPr/>
          </p:nvCxnSpPr>
          <p:spPr bwMode="gray">
            <a:xfrm rot="900000" flipV="1">
              <a:off x="1513036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116">
              <a:extLst>
                <a:ext uri="{FF2B5EF4-FFF2-40B4-BE49-F238E27FC236}">
                  <a16:creationId xmlns:a16="http://schemas.microsoft.com/office/drawing/2014/main" id="{EB80D529-8646-124F-BF36-72A173112A3B}"/>
                </a:ext>
              </a:extLst>
            </p:cNvPr>
            <p:cNvCxnSpPr/>
            <p:nvPr/>
          </p:nvCxnSpPr>
          <p:spPr bwMode="gray">
            <a:xfrm rot="900000" flipV="1">
              <a:off x="1585224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117">
              <a:extLst>
                <a:ext uri="{FF2B5EF4-FFF2-40B4-BE49-F238E27FC236}">
                  <a16:creationId xmlns:a16="http://schemas.microsoft.com/office/drawing/2014/main" id="{66A52F8B-5236-0A4A-8D5A-49B7737C18AD}"/>
                </a:ext>
              </a:extLst>
            </p:cNvPr>
            <p:cNvCxnSpPr/>
            <p:nvPr/>
          </p:nvCxnSpPr>
          <p:spPr bwMode="gray">
            <a:xfrm rot="900000" flipV="1">
              <a:off x="165741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18">
              <a:extLst>
                <a:ext uri="{FF2B5EF4-FFF2-40B4-BE49-F238E27FC236}">
                  <a16:creationId xmlns:a16="http://schemas.microsoft.com/office/drawing/2014/main" id="{398B2D24-931E-0543-9419-6F848A6E0C6B}"/>
                </a:ext>
              </a:extLst>
            </p:cNvPr>
            <p:cNvCxnSpPr/>
            <p:nvPr/>
          </p:nvCxnSpPr>
          <p:spPr bwMode="gray">
            <a:xfrm rot="900000" flipV="1">
              <a:off x="172959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119">
              <a:extLst>
                <a:ext uri="{FF2B5EF4-FFF2-40B4-BE49-F238E27FC236}">
                  <a16:creationId xmlns:a16="http://schemas.microsoft.com/office/drawing/2014/main" id="{C75E0FE6-E36E-5946-AABA-F38C64CC81FB}"/>
                </a:ext>
              </a:extLst>
            </p:cNvPr>
            <p:cNvCxnSpPr/>
            <p:nvPr/>
          </p:nvCxnSpPr>
          <p:spPr bwMode="gray">
            <a:xfrm rot="900000" flipV="1">
              <a:off x="1801788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115">
              <a:extLst>
                <a:ext uri="{FF2B5EF4-FFF2-40B4-BE49-F238E27FC236}">
                  <a16:creationId xmlns:a16="http://schemas.microsoft.com/office/drawing/2014/main" id="{91C073C8-5660-F54F-A423-0DDA5ED5927B}"/>
                </a:ext>
              </a:extLst>
            </p:cNvPr>
            <p:cNvCxnSpPr/>
            <p:nvPr/>
          </p:nvCxnSpPr>
          <p:spPr bwMode="gray">
            <a:xfrm rot="900000" flipV="1">
              <a:off x="-4484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116">
              <a:extLst>
                <a:ext uri="{FF2B5EF4-FFF2-40B4-BE49-F238E27FC236}">
                  <a16:creationId xmlns:a16="http://schemas.microsoft.com/office/drawing/2014/main" id="{39E8BD21-131B-F04B-B862-6BC614FE952C}"/>
                </a:ext>
              </a:extLst>
            </p:cNvPr>
            <p:cNvCxnSpPr/>
            <p:nvPr/>
          </p:nvCxnSpPr>
          <p:spPr bwMode="gray">
            <a:xfrm rot="900000" flipV="1">
              <a:off x="67704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117">
              <a:extLst>
                <a:ext uri="{FF2B5EF4-FFF2-40B4-BE49-F238E27FC236}">
                  <a16:creationId xmlns:a16="http://schemas.microsoft.com/office/drawing/2014/main" id="{C166EDBC-3775-3C41-93CC-407AE2BC99F2}"/>
                </a:ext>
              </a:extLst>
            </p:cNvPr>
            <p:cNvCxnSpPr/>
            <p:nvPr/>
          </p:nvCxnSpPr>
          <p:spPr bwMode="gray">
            <a:xfrm rot="900000" flipV="1">
              <a:off x="139893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118">
              <a:extLst>
                <a:ext uri="{FF2B5EF4-FFF2-40B4-BE49-F238E27FC236}">
                  <a16:creationId xmlns:a16="http://schemas.microsoft.com/office/drawing/2014/main" id="{54872FEC-076B-5F46-A1D6-CAEDFDF73A08}"/>
                </a:ext>
              </a:extLst>
            </p:cNvPr>
            <p:cNvCxnSpPr/>
            <p:nvPr/>
          </p:nvCxnSpPr>
          <p:spPr bwMode="gray">
            <a:xfrm rot="900000" flipV="1">
              <a:off x="212079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119">
              <a:extLst>
                <a:ext uri="{FF2B5EF4-FFF2-40B4-BE49-F238E27FC236}">
                  <a16:creationId xmlns:a16="http://schemas.microsoft.com/office/drawing/2014/main" id="{CF9223F2-C3C2-BC4C-99CB-3034CCD42435}"/>
                </a:ext>
              </a:extLst>
            </p:cNvPr>
            <p:cNvCxnSpPr/>
            <p:nvPr/>
          </p:nvCxnSpPr>
          <p:spPr bwMode="gray">
            <a:xfrm rot="900000" flipV="1">
              <a:off x="284268" y="3050368"/>
              <a:ext cx="0" cy="35619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3C1E9B24-C8F5-43A0-A2A6-0D236658E0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658945"/>
              </p:ext>
            </p:extLst>
          </p:nvPr>
        </p:nvGraphicFramePr>
        <p:xfrm>
          <a:off x="353754" y="2801959"/>
          <a:ext cx="11420614" cy="3869443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603613">
                  <a:extLst>
                    <a:ext uri="{9D8B030D-6E8A-4147-A177-3AD203B41FA5}">
                      <a16:colId xmlns:a16="http://schemas.microsoft.com/office/drawing/2014/main" val="713192268"/>
                    </a:ext>
                  </a:extLst>
                </a:gridCol>
                <a:gridCol w="2137555">
                  <a:extLst>
                    <a:ext uri="{9D8B030D-6E8A-4147-A177-3AD203B41FA5}">
                      <a16:colId xmlns:a16="http://schemas.microsoft.com/office/drawing/2014/main" val="1422768538"/>
                    </a:ext>
                  </a:extLst>
                </a:gridCol>
                <a:gridCol w="1888435">
                  <a:extLst>
                    <a:ext uri="{9D8B030D-6E8A-4147-A177-3AD203B41FA5}">
                      <a16:colId xmlns:a16="http://schemas.microsoft.com/office/drawing/2014/main" val="824852179"/>
                    </a:ext>
                  </a:extLst>
                </a:gridCol>
                <a:gridCol w="4045226">
                  <a:extLst>
                    <a:ext uri="{9D8B030D-6E8A-4147-A177-3AD203B41FA5}">
                      <a16:colId xmlns:a16="http://schemas.microsoft.com/office/drawing/2014/main" val="2717156789"/>
                    </a:ext>
                  </a:extLst>
                </a:gridCol>
                <a:gridCol w="1745785">
                  <a:extLst>
                    <a:ext uri="{9D8B030D-6E8A-4147-A177-3AD203B41FA5}">
                      <a16:colId xmlns:a16="http://schemas.microsoft.com/office/drawing/2014/main" val="2117563478"/>
                    </a:ext>
                  </a:extLst>
                </a:gridCol>
              </a:tblGrid>
              <a:tr h="636980">
                <a:tc>
                  <a:txBody>
                    <a:bodyPr/>
                    <a:lstStyle/>
                    <a:p>
                      <a:pPr algn="ctr"/>
                      <a:r>
                        <a:rPr lang="ru-RU" sz="14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рма расхода препарата, л/г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льтур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едный объек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емя обработк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 ожидания (кратность обработок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109167"/>
                  </a:ext>
                </a:extLst>
              </a:tr>
              <a:tr h="1006178">
                <a:tc rowSpan="3">
                  <a:txBody>
                    <a:bodyPr/>
                    <a:lstStyle/>
                    <a:p>
                      <a:pPr algn="ctr"/>
                      <a:r>
                        <a:rPr lang="ru-RU" sz="1700" b="1" dirty="0"/>
                        <a:t>0,5</a:t>
                      </a:r>
                      <a:r>
                        <a:rPr lang="ru-RU" sz="1700" dirty="0"/>
                        <a:t>-0,7</a:t>
                      </a:r>
                      <a:endParaRPr lang="ru-RU" sz="1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/>
                        <a:t>Пшеница яровая, ячмень яровой</a:t>
                      </a:r>
                      <a:endParaRPr lang="ru-RU" sz="1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700" dirty="0"/>
                        <a:t>Однолетние и многолетние двудольные сорняки</a:t>
                      </a:r>
                      <a:endParaRPr lang="ru-RU" sz="1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/>
                        <a:t>Опрыскивание посевов в фазе от 3-х листьев до 2-го междоузлия культуры. Расход рабочей жидкости 150-200 л/га.</a:t>
                      </a:r>
                    </a:p>
                    <a:p>
                      <a:pPr algn="ctr"/>
                      <a:endParaRPr lang="ru-RU" sz="8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700" dirty="0"/>
                        <a:t>60 (1)</a:t>
                      </a:r>
                      <a:endParaRPr lang="ru-RU" sz="1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30347924"/>
                  </a:ext>
                </a:extLst>
              </a:tr>
              <a:tr h="10061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/>
                        <a:t>Пшеница озимая, ячмень озимый, рожь озимая, тритикале озимая</a:t>
                      </a:r>
                      <a:endParaRPr lang="ru-RU" sz="1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dirty="0"/>
                        <a:t>Опрыскивание посевов весной в фазе от начала кущения до 2-го междоузлия культуры. Расход рабочей жидкости 150-200 л/га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1332382"/>
                  </a:ext>
                </a:extLst>
              </a:tr>
              <a:tr h="882065">
                <a:tc vMerge="1">
                  <a:txBody>
                    <a:bodyPr/>
                    <a:lstStyle/>
                    <a:p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/>
                        <a:t>Кукуруза</a:t>
                      </a:r>
                      <a:endParaRPr lang="ru-RU" sz="1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/>
                        <a:t>Опрыскивание посевов в фазе 4- 5 листьев культуры</a:t>
                      </a:r>
                      <a:endParaRPr lang="ru-RU" sz="17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32617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602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 p14:presetBounceEnd="50000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90F09-E9FC-2F43-90FD-ACB56750F1DB}"/>
              </a:ext>
            </a:extLst>
          </p:cNvPr>
          <p:cNvSpPr txBox="1">
            <a:spLocks/>
          </p:cNvSpPr>
          <p:nvPr/>
        </p:nvSpPr>
        <p:spPr bwMode="black">
          <a:xfrm>
            <a:off x="3933206" y="3224231"/>
            <a:ext cx="7498449" cy="99014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800" i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6025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33" b="0" i="1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Helvetica Neue Light" panose="02000403000000020004" pitchFamily="2" charset="0"/>
                <a:ea typeface="Helvetica Neue Light" panose="02000403000000020004" pitchFamily="2" charset="0"/>
                <a:cs typeface="+mj-cs"/>
              </a:rPr>
              <a:t>применения</a:t>
            </a:r>
            <a:endParaRPr kumimoji="0" lang="en-US" sz="8033" b="0" i="1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Helvetica Neue Light" panose="02000403000000020004" pitchFamily="2" charset="0"/>
              <a:ea typeface="Helvetica Neue Light" panose="02000403000000020004" pitchFamily="2" charset="0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8F4E2F9-9A2C-7A4E-8F5C-53870D93EB4E}"/>
              </a:ext>
            </a:extLst>
          </p:cNvPr>
          <p:cNvSpPr txBox="1">
            <a:spLocks/>
          </p:cNvSpPr>
          <p:nvPr/>
        </p:nvSpPr>
        <p:spPr bwMode="black">
          <a:xfrm>
            <a:off x="2938860" y="2489131"/>
            <a:ext cx="5497703" cy="6887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800" i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6025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2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Опыт</a:t>
            </a:r>
            <a:r>
              <a:rPr kumimoji="0" lang="ru-RU" sz="482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</a:t>
            </a:r>
            <a:endParaRPr kumimoji="0" lang="en-US" sz="482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454911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a1c3c30-22bf-4270-ad20-05f1368e40a8"/>
  <p:tag name="MIO_GUID" val="9d34da4a-96c6-4b89-b9bc-18a67a584e0e"/>
  <p:tag name="MIO_UPDATE" val="True"/>
  <p:tag name="MIO_VERSION" val="13.11.2018 15:47:55"/>
  <p:tag name="MIO_DBID" val="8E7267AE-489F-4B02-8040-8A98451BF141"/>
  <p:tag name="MIO_LASTDOWNLOADED" val="12.12.2019 18:54:50"/>
  <p:tag name="MIO_OBJECTNAME" val="Post-It long green"/>
  <p:tag name="MIO_LASTEDITORNAME" val="Katharina Kampe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9efcc1-75a8-4e87-9630-4882509fa46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9bd70f8-1601-4ded-bf50-9c7644b05cf8"/>
  <p:tag name="MIO_EKGUID" val="da1c3c30-22bf-4270-ad20-05f1368e40a8"/>
  <p:tag name="MIO_UPDATE" val="True"/>
  <p:tag name="MIO_DBID" val="8E7267AE-489F-4B02-8040-8A98451BF141"/>
  <p:tag name="MIO_LASTDOWNLOADED" val="31.08.2018 17:29:47"/>
  <p:tag name="MIO_OBJECTNAME" val="Post-It long green"/>
  <p:tag name="MIO_LASTEDITORNAME" val="Melissa Usseni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59d4cdd-7310-4ece-9f65-3f75326a650a"/>
  <p:tag name="MIO_EKGUID" val="ad0c3df4-3e2d-4641-99c0-f2506ef2fd7b"/>
  <p:tag name="MIO_UPDATE" val="True"/>
  <p:tag name="MIO_VERSION" val="20.08.2018 15:51:45"/>
  <p:tag name="MIO_DBID" val="8E7267AE-489F-4B02-8040-8A98451BF141"/>
  <p:tag name="MIO_LASTDOWNLOADED" val="12.12.2019 19:02:09"/>
  <p:tag name="MIO_OBJECTNAME" val="Recycling"/>
  <p:tag name="MIO_LASTEDITORNAME" val="empower enterpri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4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3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5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7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6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9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0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Глянец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12700" cap="flat" cmpd="sng" algn="ctr">
          <a:solidFill>
            <a:schemeClr val="phClr">
              <a:tint val="95000"/>
              <a:shade val="95000"/>
              <a:satMod val="120000"/>
            </a:schemeClr>
          </a:solidFill>
          <a:prstDash val="solid"/>
        </a:ln>
        <a:ln w="55000" cap="flat" cmpd="thickThin" algn="ctr">
          <a:solidFill>
            <a:schemeClr val="phClr">
              <a:tint val="90000"/>
              <a:satMod val="130000"/>
            </a:schemeClr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1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3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14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8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676C2111A7904D9472E7C36EB28602" ma:contentTypeVersion="17" ma:contentTypeDescription="Create a new document." ma:contentTypeScope="" ma:versionID="78af107e1b5b11657984789594652936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e74dae33-0a21-42a5-bfb5-99deacea149d" xmlns:ns4="387050e7-69f2-4bd3-9046-87f79b918c2b" targetNamespace="http://schemas.microsoft.com/office/2006/metadata/properties" ma:root="true" ma:fieldsID="9b90b1687e8f6147e56e938395bc291d" ns1:_="" ns2:_="" ns3:_="" ns4:_="">
    <xsd:import namespace="http://schemas.microsoft.com/sharepoint/v3"/>
    <xsd:import namespace="1a4d292e-883c-434b-96e3-060cfff16c86"/>
    <xsd:import namespace="e74dae33-0a21-42a5-bfb5-99deacea149d"/>
    <xsd:import namespace="387050e7-69f2-4bd3-9046-87f79b918c2b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FastMetadata" minOccurs="0"/>
                <xsd:element ref="ns3:MediaServiceMetadata" minOccurs="0"/>
                <xsd:element ref="ns3:MediaServiceDateTaken" minOccurs="0"/>
                <xsd:element ref="ns3:MediaServiceAutoTags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  <xsd:element ref="ns3:MediaServiceObjectDetectorVersions" minOccurs="0"/>
                <xsd:element ref="ns4:SharedWithUsers" minOccurs="0"/>
                <xsd:element ref="ns4:SharedWithDetail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empt from Policy" ma:hidden="true" ma:internalName="_dlc_Exempt" ma:readOnly="false">
      <xsd:simpleType>
        <xsd:restriction base="dms:Unknown"/>
      </xsd:simpleType>
    </xsd:element>
    <xsd:element name="_dlc_ExpireDateSaved" ma:index="11" nillable="true" ma:displayName="Original Expiration Date" ma:hidden="true" ma:internalName="_dlc_ExpireDateSaved" ma:readOnly="false">
      <xsd:simpleType>
        <xsd:restriction base="dms:DateTime"/>
      </xsd:simpleType>
    </xsd:element>
    <xsd:element name="_dlc_ExpireDate" ma:index="12" nillable="true" ma:displayName="Expiration Date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93919f56-9295-4412-b48b-0bda87615d25}" ma:internalName="TaxCatchAll" ma:showField="CatchAllData" ma:web="387050e7-69f2-4bd3-9046-87f79b918c2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93919f56-9295-4412-b48b-0bda87615d25}" ma:internalName="TaxCatchAllLabel" ma:readOnly="true" ma:showField="CatchAllDataLabel" ma:web="387050e7-69f2-4bd3-9046-87f79b918c2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4dae33-0a21-42a5-bfb5-99deacea149d" elementFormDefault="qualified">
    <xsd:import namespace="http://schemas.microsoft.com/office/2006/documentManagement/types"/>
    <xsd:import namespace="http://schemas.microsoft.com/office/infopath/2007/PartnerControls"/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7050e7-69f2-4bd3-9046-87f79b918c2b" elementFormDefault="qualified">
    <xsd:import namespace="http://schemas.microsoft.com/office/2006/documentManagement/types"/>
    <xsd:import namespace="http://schemas.microsoft.com/office/infopath/2007/PartnerControls"/>
    <xsd:element name="SharedWithUsers" ma:index="2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haredContentType xmlns="Microsoft.SharePoint.Taxonomy.ContentTypeSync" SourceId="7bc43322-b630-4bac-8b27-31def233d1d0" ContentTypeId="0x0101" PreviousValue="false"/>
</file>

<file path=customXml/itemProps1.xml><?xml version="1.0" encoding="utf-8"?>
<ds:datastoreItem xmlns:ds="http://schemas.openxmlformats.org/officeDocument/2006/customXml" ds:itemID="{D838E17D-D5DB-4409-ACB5-B00CE861F0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4d292e-883c-434b-96e3-060cfff16c86"/>
    <ds:schemaRef ds:uri="e74dae33-0a21-42a5-bfb5-99deacea149d"/>
    <ds:schemaRef ds:uri="387050e7-69f2-4bd3-9046-87f79b918c2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5F1BC97-7712-4E52-B727-2B86AE6D6A4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5387DBF-C246-4DE7-8E6F-29BED95886C1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11</TotalTime>
  <Words>1034</Words>
  <Application>Microsoft Office PowerPoint</Application>
  <PresentationFormat>Произвольный</PresentationFormat>
  <Paragraphs>215</Paragraphs>
  <Slides>18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0</vt:i4>
      </vt:variant>
      <vt:variant>
        <vt:lpstr>Заголовки слайдов</vt:lpstr>
      </vt:variant>
      <vt:variant>
        <vt:i4>18</vt:i4>
      </vt:variant>
    </vt:vector>
  </HeadingPairs>
  <TitlesOfParts>
    <vt:vector size="46" baseType="lpstr">
      <vt:lpstr>Arial</vt:lpstr>
      <vt:lpstr>Calibri</vt:lpstr>
      <vt:lpstr>Calibri Light</vt:lpstr>
      <vt:lpstr>Helvetica Neue</vt:lpstr>
      <vt:lpstr>Helvetica Neue Light</vt:lpstr>
      <vt:lpstr>Helvetica Neue Medium</vt:lpstr>
      <vt:lpstr>Symbol</vt:lpstr>
      <vt:lpstr>Wingdings</vt:lpstr>
      <vt:lpstr>Тема Office</vt:lpstr>
      <vt:lpstr>1_Тема Office</vt:lpstr>
      <vt:lpstr>3_Тема Office</vt:lpstr>
      <vt:lpstr>4_Тема Office</vt:lpstr>
      <vt:lpstr>2_Тема Office</vt:lpstr>
      <vt:lpstr>Специальное оформление</vt:lpstr>
      <vt:lpstr>2_Специальное оформление</vt:lpstr>
      <vt:lpstr>8_Специальное оформление</vt:lpstr>
      <vt:lpstr>1_Специальное оформление</vt:lpstr>
      <vt:lpstr>4_Специальное оформление</vt:lpstr>
      <vt:lpstr>3_Специальное оформление</vt:lpstr>
      <vt:lpstr>5_Специальное оформление</vt:lpstr>
      <vt:lpstr>7_Специальное оформление</vt:lpstr>
      <vt:lpstr>6_Специальное оформление</vt:lpstr>
      <vt:lpstr>9_Специальное оформление</vt:lpstr>
      <vt:lpstr>10_Специальное оформление</vt:lpstr>
      <vt:lpstr>11_Специальное оформление</vt:lpstr>
      <vt:lpstr>12_Специальное оформление</vt:lpstr>
      <vt:lpstr>13_Специальное оформление</vt:lpstr>
      <vt:lpstr>14_Специальное оформление</vt:lpstr>
      <vt:lpstr>Сорняки   под прицелом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k@red-is.ru</dc:creator>
  <cp:lastModifiedBy>Andrey Ziganshin</cp:lastModifiedBy>
  <cp:revision>44</cp:revision>
  <dcterms:created xsi:type="dcterms:W3CDTF">2019-10-22T11:16:45Z</dcterms:created>
  <dcterms:modified xsi:type="dcterms:W3CDTF">2024-11-02T11:5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c76c141-ac86-40e5-abf2-c6f60e474cee_Enabled">
    <vt:lpwstr>true</vt:lpwstr>
  </property>
  <property fmtid="{D5CDD505-2E9C-101B-9397-08002B2CF9AE}" pid="3" name="MSIP_Label_2c76c141-ac86-40e5-abf2-c6f60e474cee_SetDate">
    <vt:lpwstr>2022-03-09T05:49:09Z</vt:lpwstr>
  </property>
  <property fmtid="{D5CDD505-2E9C-101B-9397-08002B2CF9AE}" pid="4" name="MSIP_Label_2c76c141-ac86-40e5-abf2-c6f60e474cee_Method">
    <vt:lpwstr>Standard</vt:lpwstr>
  </property>
  <property fmtid="{D5CDD505-2E9C-101B-9397-08002B2CF9AE}" pid="5" name="MSIP_Label_2c76c141-ac86-40e5-abf2-c6f60e474cee_Name">
    <vt:lpwstr>2c76c141-ac86-40e5-abf2-c6f60e474cee</vt:lpwstr>
  </property>
  <property fmtid="{D5CDD505-2E9C-101B-9397-08002B2CF9AE}" pid="6" name="MSIP_Label_2c76c141-ac86-40e5-abf2-c6f60e474cee_SiteId">
    <vt:lpwstr>fcb2b37b-5da0-466b-9b83-0014b67a7c78</vt:lpwstr>
  </property>
  <property fmtid="{D5CDD505-2E9C-101B-9397-08002B2CF9AE}" pid="7" name="MSIP_Label_2c76c141-ac86-40e5-abf2-c6f60e474cee_ContentBits">
    <vt:lpwstr>2</vt:lpwstr>
  </property>
</Properties>
</file>